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wdp" ContentType="image/vnd.ms-photo"/>
  <Default Extension="wmf" ContentType="image/x-wmf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diagrams/colors1.xml" ContentType="application/vnd.openxmlformats-officedocument.drawingml.diagramColors+xml"/>
  <Override PartName="/ppt/diagrams/colors2.xml" ContentType="application/vnd.openxmlformats-officedocument.drawingml.diagramColors+xml"/>
  <Override PartName="/ppt/diagrams/colors3.xml" ContentType="application/vnd.openxmlformats-officedocument.drawingml.diagramColors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diagrams/drawing1.xml" ContentType="application/vnd.ms-office.drawingml.diagramDrawing+xml"/>
  <Override PartName="/ppt/diagrams/drawing2.xml" ContentType="application/vnd.ms-office.drawingml.diagramDrawing+xml"/>
  <Override PartName="/ppt/diagrams/drawing3.xml" ContentType="application/vnd.ms-office.drawingml.diagramDrawing+xml"/>
  <Override PartName="/ppt/diagrams/layout1.xml" ContentType="application/vnd.openxmlformats-officedocument.drawingml.diagramLayout+xml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diagrams/quickStyle1.xml" ContentType="application/vnd.openxmlformats-officedocument.drawingml.diagramStyle+xml"/>
  <Override PartName="/ppt/diagrams/quickStyle2.xml" ContentType="application/vnd.openxmlformats-officedocument.drawingml.diagramStyle+xml"/>
  <Override PartName="/ppt/diagrams/quickStyle3.xml" ContentType="application/vnd.openxmlformats-officedocument.drawingml.diagramStyle+xml"/>
  <Override PartName="/ppt/media/image1.svg" ContentType="image/svg+xml"/>
  <Override PartName="/ppt/media/image2.svg" ContentType="image/svg+xml"/>
  <Override PartName="/ppt/media/image3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3"/>
    <p:sldMasterId id="2147483673" r:id="rId4"/>
    <p:sldMasterId id="2147483685" r:id="rId5"/>
  </p:sldMasterIdLst>
  <p:notesMasterIdLst>
    <p:notesMasterId r:id="rId12"/>
  </p:notesMasterIdLst>
  <p:sldIdLst>
    <p:sldId id="256" r:id="rId6"/>
    <p:sldId id="286" r:id="rId7"/>
    <p:sldId id="285" r:id="rId8"/>
    <p:sldId id="287" r:id="rId9"/>
    <p:sldId id="288" r:id="rId10"/>
    <p:sldId id="268" r:id="rId11"/>
    <p:sldId id="469" r:id="rId13"/>
    <p:sldId id="274" r:id="rId14"/>
    <p:sldId id="263" r:id="rId15"/>
    <p:sldId id="273" r:id="rId16"/>
    <p:sldId id="281" r:id="rId17"/>
    <p:sldId id="261" r:id="rId18"/>
    <p:sldId id="304" r:id="rId19"/>
    <p:sldId id="262" r:id="rId20"/>
    <p:sldId id="320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C4B1156A-380E-4F78-BDF5-A606A8083BF9}" styleName="中度样式 4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4" d="100"/>
          <a:sy n="64" d="100"/>
        </p:scale>
        <p:origin x="116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8" Type="http://schemas.openxmlformats.org/officeDocument/2006/relationships/slide" Target="slides/slide3.xml"/><Relationship Id="rId7" Type="http://schemas.openxmlformats.org/officeDocument/2006/relationships/slide" Target="slides/slide2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4" Type="http://schemas.openxmlformats.org/officeDocument/2006/relationships/tableStyles" Target="tableStyles.xml"/><Relationship Id="rId23" Type="http://schemas.openxmlformats.org/officeDocument/2006/relationships/viewProps" Target="viewProps.xml"/><Relationship Id="rId22" Type="http://schemas.openxmlformats.org/officeDocument/2006/relationships/presProps" Target="presProps.xml"/><Relationship Id="rId21" Type="http://schemas.openxmlformats.org/officeDocument/2006/relationships/slide" Target="slides/slide15.xml"/><Relationship Id="rId20" Type="http://schemas.openxmlformats.org/officeDocument/2006/relationships/slide" Target="slides/slide14.xml"/><Relationship Id="rId2" Type="http://schemas.openxmlformats.org/officeDocument/2006/relationships/theme" Target="theme/theme1.xml"/><Relationship Id="rId19" Type="http://schemas.openxmlformats.org/officeDocument/2006/relationships/slide" Target="slides/slide13.xml"/><Relationship Id="rId18" Type="http://schemas.openxmlformats.org/officeDocument/2006/relationships/slide" Target="slides/slide12.xml"/><Relationship Id="rId17" Type="http://schemas.openxmlformats.org/officeDocument/2006/relationships/slide" Target="slides/slide11.xml"/><Relationship Id="rId16" Type="http://schemas.openxmlformats.org/officeDocument/2006/relationships/slide" Target="slides/slide10.xml"/><Relationship Id="rId15" Type="http://schemas.openxmlformats.org/officeDocument/2006/relationships/slide" Target="slides/slide9.xml"/><Relationship Id="rId14" Type="http://schemas.openxmlformats.org/officeDocument/2006/relationships/slide" Target="slides/slide8.xml"/><Relationship Id="rId13" Type="http://schemas.openxmlformats.org/officeDocument/2006/relationships/slide" Target="slides/slide7.xml"/><Relationship Id="rId12" Type="http://schemas.openxmlformats.org/officeDocument/2006/relationships/notesMaster" Target="notesMasters/notesMaster1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diagrams/_rels/data2.xml.rels><?xml version="1.0" encoding="UTF-8" standalone="yes"?>
<Relationships xmlns="http://schemas.openxmlformats.org/package/2006/relationships"><Relationship Id="rId6" Type="http://schemas.openxmlformats.org/officeDocument/2006/relationships/image" Target="../media/image3.svg"/><Relationship Id="rId5" Type="http://schemas.openxmlformats.org/officeDocument/2006/relationships/image" Target="../media/image39.png"/><Relationship Id="rId4" Type="http://schemas.openxmlformats.org/officeDocument/2006/relationships/image" Target="../media/image2.svg"/><Relationship Id="rId3" Type="http://schemas.openxmlformats.org/officeDocument/2006/relationships/image" Target="../media/image38.png"/><Relationship Id="rId2" Type="http://schemas.openxmlformats.org/officeDocument/2006/relationships/image" Target="../media/image1.svg"/><Relationship Id="rId1" Type="http://schemas.openxmlformats.org/officeDocument/2006/relationships/image" Target="../media/image37.png"/></Relationships>
</file>

<file path=ppt/diagrams/_rels/data3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38.png"/><Relationship Id="rId2" Type="http://schemas.openxmlformats.org/officeDocument/2006/relationships/image" Target="../media/image1.svg"/><Relationship Id="rId1" Type="http://schemas.openxmlformats.org/officeDocument/2006/relationships/image" Target="../media/image37.png"/></Relationships>
</file>

<file path=ppt/diagrams/_rels/drawing2.xml.rels><?xml version="1.0" encoding="UTF-8" standalone="yes"?>
<Relationships xmlns="http://schemas.openxmlformats.org/package/2006/relationships"><Relationship Id="rId6" Type="http://schemas.openxmlformats.org/officeDocument/2006/relationships/image" Target="../media/image3.svg"/><Relationship Id="rId5" Type="http://schemas.openxmlformats.org/officeDocument/2006/relationships/image" Target="../media/image39.png"/><Relationship Id="rId4" Type="http://schemas.openxmlformats.org/officeDocument/2006/relationships/image" Target="../media/image2.svg"/><Relationship Id="rId3" Type="http://schemas.openxmlformats.org/officeDocument/2006/relationships/image" Target="../media/image38.png"/><Relationship Id="rId2" Type="http://schemas.openxmlformats.org/officeDocument/2006/relationships/image" Target="../media/image1.svg"/><Relationship Id="rId1" Type="http://schemas.openxmlformats.org/officeDocument/2006/relationships/image" Target="../media/image37.png"/></Relationships>
</file>

<file path=ppt/diagrams/_rels/drawing3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svg"/><Relationship Id="rId3" Type="http://schemas.openxmlformats.org/officeDocument/2006/relationships/image" Target="../media/image38.png"/><Relationship Id="rId2" Type="http://schemas.openxmlformats.org/officeDocument/2006/relationships/image" Target="../media/image1.svg"/><Relationship Id="rId1" Type="http://schemas.openxmlformats.org/officeDocument/2006/relationships/image" Target="../media/image3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icon_colorful1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18/5/colors/Iconchunking_neutralicon_colorful1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A690160-D328-4B69-A035-90D3C82FA0A6}" type="doc">
      <dgm:prSet loTypeId="urn:microsoft.com/office/officeart/2005/8/layout/pList2#1" loCatId="list" qsTypeId="urn:microsoft.com/office/officeart/2005/8/quickstyle/simple4" qsCatId="simple" csTypeId="urn:microsoft.com/office/officeart/2005/8/colors/colorful2" csCatId="colorful" phldr="1"/>
      <dgm:spPr/>
    </dgm:pt>
    <dgm:pt modelId="{476E4177-EF8D-419E-AB8A-93E66CC82482}">
      <dgm:prSet phldrT="[Text]" custT="1"/>
      <dgm:spPr/>
      <dgm:t>
        <a:bodyPr lIns="73152" tIns="274320" rIns="73152" anchor="ctr"/>
        <a:lstStyle/>
        <a:p>
          <a:pPr algn="ctr"/>
          <a:r>
            <a:rPr lang="en-US" sz="2000" b="1" dirty="0" err="1">
              <a:latin typeface="Corbel" panose="020B0503020204020204" pitchFamily="34" charset="0"/>
            </a:rPr>
            <a:t>Identifikasi</a:t>
          </a:r>
          <a:r>
            <a:rPr lang="en-US" sz="2000" b="1" dirty="0">
              <a:latin typeface="Corbel" panose="020B0503020204020204" pitchFamily="34" charset="0"/>
            </a:rPr>
            <a:t>/ </a:t>
          </a:r>
          <a:r>
            <a:rPr lang="en-US" sz="2000" b="1" dirty="0" err="1">
              <a:latin typeface="Corbel" panose="020B0503020204020204" pitchFamily="34" charset="0"/>
            </a:rPr>
            <a:t>koordinasi</a:t>
          </a:r>
          <a:r>
            <a:rPr lang="en-US" sz="2000" b="1" dirty="0">
              <a:latin typeface="Corbel" panose="020B0503020204020204" pitchFamily="34" charset="0"/>
            </a:rPr>
            <a:t>/ </a:t>
          </a:r>
          <a:r>
            <a:rPr lang="en-US" sz="2000" b="1" dirty="0" err="1">
              <a:latin typeface="Corbel" panose="020B0503020204020204" pitchFamily="34" charset="0"/>
            </a:rPr>
            <a:t>sosialisasi</a:t>
          </a:r>
          <a:endParaRPr lang="en-US" sz="2000" b="1" dirty="0">
            <a:latin typeface="Corbel" panose="020B0503020204020204" pitchFamily="34" charset="0"/>
          </a:endParaRPr>
        </a:p>
      </dgm:t>
    </dgm:pt>
    <dgm:pt modelId="{50A25A56-CEA1-40EB-822C-18475EA4B47A}" cxnId="{9A40B199-C1E6-4AA6-9486-07915ED7CAE7}" type="parTrans">
      <dgm:prSet/>
      <dgm:spPr/>
      <dgm:t>
        <a:bodyPr/>
        <a:lstStyle/>
        <a:p>
          <a:endParaRPr lang="en-US"/>
        </a:p>
      </dgm:t>
    </dgm:pt>
    <dgm:pt modelId="{A91F7A1B-DD1E-4B26-839C-2A5EF0A403AD}" cxnId="{9A40B199-C1E6-4AA6-9486-07915ED7CAE7}" type="sibTrans">
      <dgm:prSet/>
      <dgm:spPr/>
      <dgm:t>
        <a:bodyPr/>
        <a:lstStyle/>
        <a:p>
          <a:endParaRPr lang="en-US"/>
        </a:p>
      </dgm:t>
    </dgm:pt>
    <dgm:pt modelId="{5DD0A7D4-5781-4819-AF33-C5CE25A2D297}">
      <dgm:prSet phldrT="[Text]" custT="1"/>
      <dgm:spPr/>
      <dgm:t>
        <a:bodyPr lIns="73152" tIns="274320" rIns="73152"/>
        <a:lstStyle/>
        <a:p>
          <a:pPr algn="ctr"/>
          <a:r>
            <a:rPr lang="en-US" sz="2000" b="1" dirty="0" err="1">
              <a:solidFill>
                <a:schemeClr val="tx1"/>
              </a:solidFill>
              <a:latin typeface="Corbel" panose="020B0503020204020204" pitchFamily="34" charset="0"/>
            </a:rPr>
            <a:t>Penyusunan</a:t>
          </a:r>
          <a:r>
            <a:rPr lang="en-US" sz="2000" b="1" dirty="0">
              <a:solidFill>
                <a:schemeClr val="tx1"/>
              </a:solidFill>
              <a:latin typeface="Corbel" panose="020B0503020204020204" pitchFamily="34" charset="0"/>
            </a:rPr>
            <a:t> </a:t>
          </a:r>
          <a:r>
            <a:rPr lang="en-US" sz="2000" b="1" dirty="0" err="1">
              <a:solidFill>
                <a:schemeClr val="tx1"/>
              </a:solidFill>
              <a:latin typeface="Corbel" panose="020B0503020204020204" pitchFamily="34" charset="0"/>
            </a:rPr>
            <a:t>Dokumen</a:t>
          </a:r>
          <a:r>
            <a:rPr lang="en-US" sz="2000" b="1" dirty="0">
              <a:solidFill>
                <a:schemeClr val="tx1"/>
              </a:solidFill>
              <a:latin typeface="Corbel" panose="020B0503020204020204" pitchFamily="34" charset="0"/>
            </a:rPr>
            <a:t> System </a:t>
          </a:r>
          <a:r>
            <a:rPr lang="en-US" sz="2000" b="1" dirty="0" err="1">
              <a:solidFill>
                <a:schemeClr val="tx1"/>
              </a:solidFill>
              <a:latin typeface="Corbel" panose="020B0503020204020204" pitchFamily="34" charset="0"/>
            </a:rPr>
            <a:t>Mutu</a:t>
          </a:r>
          <a:r>
            <a:rPr lang="en-US" sz="2000" b="1" dirty="0">
              <a:solidFill>
                <a:schemeClr val="tx1"/>
              </a:solidFill>
              <a:latin typeface="Corbel" panose="020B0503020204020204" pitchFamily="34" charset="0"/>
            </a:rPr>
            <a:t> (DOKSISTU)</a:t>
          </a:r>
        </a:p>
      </dgm:t>
    </dgm:pt>
    <dgm:pt modelId="{05B7C26E-C389-4346-849B-05526EF2C457}" cxnId="{7417CC53-98FE-43F4-BF56-8508FB7DA803}" type="parTrans">
      <dgm:prSet/>
      <dgm:spPr/>
      <dgm:t>
        <a:bodyPr/>
        <a:lstStyle/>
        <a:p>
          <a:endParaRPr lang="en-US"/>
        </a:p>
      </dgm:t>
    </dgm:pt>
    <dgm:pt modelId="{FD53903F-8A86-4D24-917A-36748269F973}" cxnId="{7417CC53-98FE-43F4-BF56-8508FB7DA803}" type="sibTrans">
      <dgm:prSet/>
      <dgm:spPr/>
      <dgm:t>
        <a:bodyPr/>
        <a:lstStyle/>
        <a:p>
          <a:endParaRPr lang="en-US"/>
        </a:p>
      </dgm:t>
    </dgm:pt>
    <dgm:pt modelId="{77AF15ED-F058-4A0B-B979-9880C6062DF0}">
      <dgm:prSet phldrT="[Text]" custT="1"/>
      <dgm:spPr/>
      <dgm:t>
        <a:bodyPr lIns="73152" tIns="274320" rIns="73152"/>
        <a:lstStyle/>
        <a:p>
          <a:pPr algn="ctr"/>
          <a:r>
            <a:rPr lang="en-US" sz="2000" b="1" dirty="0" err="1">
              <a:solidFill>
                <a:schemeClr val="tx1"/>
              </a:solidFill>
              <a:latin typeface="Corbel" panose="020B0503020204020204" pitchFamily="34" charset="0"/>
            </a:rPr>
            <a:t>Fasilitasi</a:t>
          </a:r>
          <a:r>
            <a:rPr lang="en-US" sz="2000" b="1" dirty="0">
              <a:solidFill>
                <a:schemeClr val="tx1"/>
              </a:solidFill>
              <a:latin typeface="Corbel" panose="020B0503020204020204" pitchFamily="34" charset="0"/>
            </a:rPr>
            <a:t> </a:t>
          </a:r>
          <a:r>
            <a:rPr lang="en-US" sz="2000" b="1" dirty="0" err="1">
              <a:solidFill>
                <a:schemeClr val="tx1"/>
              </a:solidFill>
              <a:latin typeface="Corbel" panose="020B0503020204020204" pitchFamily="34" charset="0"/>
            </a:rPr>
            <a:t>Jaminan</a:t>
          </a:r>
          <a:r>
            <a:rPr lang="en-US" sz="2000" b="1" dirty="0">
              <a:solidFill>
                <a:schemeClr val="tx1"/>
              </a:solidFill>
              <a:latin typeface="Corbel" panose="020B0503020204020204" pitchFamily="34" charset="0"/>
            </a:rPr>
            <a:t> </a:t>
          </a:r>
          <a:r>
            <a:rPr lang="en-US" sz="2000" b="1" dirty="0" err="1">
              <a:solidFill>
                <a:schemeClr val="tx1"/>
              </a:solidFill>
              <a:latin typeface="Corbel" panose="020B0503020204020204" pitchFamily="34" charset="0"/>
            </a:rPr>
            <a:t>Mutu</a:t>
          </a:r>
          <a:r>
            <a:rPr lang="en-US" sz="2000" b="1" dirty="0">
              <a:solidFill>
                <a:schemeClr val="tx1"/>
              </a:solidFill>
              <a:latin typeface="Corbel" panose="020B0503020204020204" pitchFamily="34" charset="0"/>
            </a:rPr>
            <a:t> (</a:t>
          </a:r>
          <a:r>
            <a:rPr lang="en-US" sz="2000" b="1" dirty="0" err="1">
              <a:solidFill>
                <a:schemeClr val="tx1"/>
              </a:solidFill>
              <a:latin typeface="Corbel" panose="020B0503020204020204" pitchFamily="34" charset="0"/>
            </a:rPr>
            <a:t>sertifikasi</a:t>
          </a:r>
          <a:r>
            <a:rPr lang="en-US" sz="2000" b="1" dirty="0">
              <a:solidFill>
                <a:schemeClr val="tx1"/>
              </a:solidFill>
              <a:latin typeface="Corbel" panose="020B0503020204020204" pitchFamily="34" charset="0"/>
            </a:rPr>
            <a:t>)</a:t>
          </a:r>
        </a:p>
        <a:p>
          <a:pPr algn="ctr"/>
          <a:r>
            <a:rPr lang="en-US" sz="2000" b="1" dirty="0">
              <a:solidFill>
                <a:schemeClr val="tx1"/>
              </a:solidFill>
              <a:latin typeface="Corbel" panose="020B0503020204020204" pitchFamily="34" charset="0"/>
            </a:rPr>
            <a:t>ORGANIK/ PRIMA </a:t>
          </a:r>
        </a:p>
      </dgm:t>
    </dgm:pt>
    <dgm:pt modelId="{0DF2CDB2-0880-4047-8447-A17EAE7580E4}" cxnId="{CD3B69F4-72CF-49E2-8926-8FD63E771977}" type="parTrans">
      <dgm:prSet/>
      <dgm:spPr/>
      <dgm:t>
        <a:bodyPr/>
        <a:lstStyle/>
        <a:p>
          <a:endParaRPr lang="en-US"/>
        </a:p>
      </dgm:t>
    </dgm:pt>
    <dgm:pt modelId="{E3B236AA-E864-46E4-BC91-F2D73633FEA4}" cxnId="{CD3B69F4-72CF-49E2-8926-8FD63E771977}" type="sibTrans">
      <dgm:prSet/>
      <dgm:spPr/>
      <dgm:t>
        <a:bodyPr/>
        <a:lstStyle/>
        <a:p>
          <a:endParaRPr lang="en-US"/>
        </a:p>
      </dgm:t>
    </dgm:pt>
    <dgm:pt modelId="{5DF8D196-4D3D-4940-9F32-682169997D7A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 lIns="73152" tIns="274320" rIns="73152"/>
        <a:lstStyle/>
        <a:p>
          <a:pPr algn="ctr"/>
          <a:r>
            <a:rPr lang="en-US" sz="2000" b="1" dirty="0" err="1">
              <a:solidFill>
                <a:schemeClr val="tx1"/>
              </a:solidFill>
              <a:latin typeface="Corbel" panose="020B0503020204020204" pitchFamily="34" charset="0"/>
            </a:rPr>
            <a:t>Monev</a:t>
          </a:r>
          <a:r>
            <a:rPr lang="en-US" sz="2000" b="1" dirty="0">
              <a:solidFill>
                <a:schemeClr val="tx1"/>
              </a:solidFill>
              <a:latin typeface="Corbel" panose="020B0503020204020204" pitchFamily="34" charset="0"/>
            </a:rPr>
            <a:t> </a:t>
          </a:r>
          <a:r>
            <a:rPr lang="en-US" sz="2000" b="1" dirty="0" err="1">
              <a:solidFill>
                <a:schemeClr val="tx1"/>
              </a:solidFill>
              <a:latin typeface="Corbel" panose="020B0503020204020204" pitchFamily="34" charset="0"/>
            </a:rPr>
            <a:t>dan</a:t>
          </a:r>
          <a:r>
            <a:rPr lang="en-US" sz="2000" b="1" dirty="0">
              <a:solidFill>
                <a:schemeClr val="tx1"/>
              </a:solidFill>
              <a:latin typeface="Corbel" panose="020B0503020204020204" pitchFamily="34" charset="0"/>
            </a:rPr>
            <a:t> </a:t>
          </a:r>
          <a:r>
            <a:rPr lang="en-US" sz="2000" b="1" dirty="0" err="1">
              <a:solidFill>
                <a:schemeClr val="tx1"/>
              </a:solidFill>
              <a:latin typeface="Corbel" panose="020B0503020204020204" pitchFamily="34" charset="0"/>
            </a:rPr>
            <a:t>pelaporan</a:t>
          </a:r>
          <a:endParaRPr lang="en-US" sz="2000" b="1" dirty="0">
            <a:solidFill>
              <a:schemeClr val="tx1"/>
            </a:solidFill>
            <a:latin typeface="Corbel" panose="020B0503020204020204" pitchFamily="34" charset="0"/>
          </a:endParaRPr>
        </a:p>
      </dgm:t>
    </dgm:pt>
    <dgm:pt modelId="{51CE1848-AB2A-4E28-8CF5-8442E546E0C5}" cxnId="{B9B85342-AC50-4E97-8E9E-2FD870B1E881}" type="parTrans">
      <dgm:prSet/>
      <dgm:spPr/>
      <dgm:t>
        <a:bodyPr/>
        <a:lstStyle/>
        <a:p>
          <a:endParaRPr lang="en-US"/>
        </a:p>
      </dgm:t>
    </dgm:pt>
    <dgm:pt modelId="{90C1E242-23BD-452C-B222-DCFA2D4DAE3B}" cxnId="{B9B85342-AC50-4E97-8E9E-2FD870B1E881}" type="sibTrans">
      <dgm:prSet/>
      <dgm:spPr/>
      <dgm:t>
        <a:bodyPr/>
        <a:lstStyle/>
        <a:p>
          <a:endParaRPr lang="en-US"/>
        </a:p>
      </dgm:t>
    </dgm:pt>
    <dgm:pt modelId="{9E4DC8AD-1AC7-4E53-B32C-25202AFDB195}" type="pres">
      <dgm:prSet presAssocID="{AA690160-D328-4B69-A035-90D3C82FA0A6}" presName="Name0" presStyleCnt="0">
        <dgm:presLayoutVars>
          <dgm:dir/>
          <dgm:resizeHandles val="exact"/>
        </dgm:presLayoutVars>
      </dgm:prSet>
      <dgm:spPr/>
    </dgm:pt>
    <dgm:pt modelId="{ACBF4AF3-FAB8-444C-81AB-52C89640E279}" type="pres">
      <dgm:prSet presAssocID="{AA690160-D328-4B69-A035-90D3C82FA0A6}" presName="bkgdShp" presStyleLbl="alignAccFollowNode1" presStyleIdx="0" presStyleCnt="1" custScaleY="152408"/>
      <dgm:spPr>
        <a:solidFill>
          <a:schemeClr val="bg1">
            <a:lumMod val="65000"/>
            <a:alpha val="90000"/>
          </a:schemeClr>
        </a:solidFill>
      </dgm:spPr>
    </dgm:pt>
    <dgm:pt modelId="{78248EF9-FFBB-4EB0-94C4-16A1D0A1A170}" type="pres">
      <dgm:prSet presAssocID="{AA690160-D328-4B69-A035-90D3C82FA0A6}" presName="linComp" presStyleCnt="0"/>
      <dgm:spPr/>
    </dgm:pt>
    <dgm:pt modelId="{CC8831C0-DF59-484B-83B2-A708366B3EB6}" type="pres">
      <dgm:prSet presAssocID="{476E4177-EF8D-419E-AB8A-93E66CC82482}" presName="compNode" presStyleCnt="0"/>
      <dgm:spPr/>
    </dgm:pt>
    <dgm:pt modelId="{2572025E-E8B8-4F94-94D0-DC22D7F762FB}" type="pres">
      <dgm:prSet presAssocID="{476E4177-EF8D-419E-AB8A-93E66CC82482}" presName="node" presStyleLbl="node1" presStyleIdx="0" presStyleCnt="4" custScaleY="56175">
        <dgm:presLayoutVars>
          <dgm:bulletEnabled val="1"/>
        </dgm:presLayoutVars>
      </dgm:prSet>
      <dgm:spPr/>
    </dgm:pt>
    <dgm:pt modelId="{2E2B4276-DB06-4C66-80FF-919CDE10A5FE}" type="pres">
      <dgm:prSet presAssocID="{476E4177-EF8D-419E-AB8A-93E66CC82482}" presName="invisiNode" presStyleLbl="node1" presStyleIdx="0" presStyleCnt="4"/>
      <dgm:spPr/>
    </dgm:pt>
    <dgm:pt modelId="{C43EB61A-2E04-409F-8F87-79F190ED3CE0}" type="pres">
      <dgm:prSet presAssocID="{476E4177-EF8D-419E-AB8A-93E66CC82482}" presName="imagNode" presStyleLbl="fgImgPlace1" presStyleIdx="0" presStyleCnt="4"/>
      <dgm:spPr/>
    </dgm:pt>
    <dgm:pt modelId="{3DB5F289-A8C3-40D5-8393-8636D9BFFD29}" type="pres">
      <dgm:prSet presAssocID="{A91F7A1B-DD1E-4B26-839C-2A5EF0A403AD}" presName="sibTrans" presStyleLbl="sibTrans2D1" presStyleIdx="0" presStyleCnt="0"/>
      <dgm:spPr/>
    </dgm:pt>
    <dgm:pt modelId="{0C509E44-86D3-42D8-94FF-9B9788BAB857}" type="pres">
      <dgm:prSet presAssocID="{5DD0A7D4-5781-4819-AF33-C5CE25A2D297}" presName="compNode" presStyleCnt="0"/>
      <dgm:spPr/>
    </dgm:pt>
    <dgm:pt modelId="{E4B0666F-2CF1-4C21-A251-46E6EBFF7C1D}" type="pres">
      <dgm:prSet presAssocID="{5DD0A7D4-5781-4819-AF33-C5CE25A2D297}" presName="node" presStyleLbl="node1" presStyleIdx="1" presStyleCnt="4" custScaleY="53650">
        <dgm:presLayoutVars>
          <dgm:bulletEnabled val="1"/>
        </dgm:presLayoutVars>
      </dgm:prSet>
      <dgm:spPr/>
    </dgm:pt>
    <dgm:pt modelId="{BBFA0B92-8C45-4EAA-A200-A78384D846A7}" type="pres">
      <dgm:prSet presAssocID="{5DD0A7D4-5781-4819-AF33-C5CE25A2D297}" presName="invisiNode" presStyleLbl="node1" presStyleIdx="1" presStyleCnt="4"/>
      <dgm:spPr/>
    </dgm:pt>
    <dgm:pt modelId="{BF646D7A-C7D0-4489-A68F-61F32B7DB0C6}" type="pres">
      <dgm:prSet presAssocID="{5DD0A7D4-5781-4819-AF33-C5CE25A2D297}" presName="imagNode" presStyleLbl="fgImgPlace1" presStyleIdx="1" presStyleCnt="4"/>
      <dgm:spPr/>
    </dgm:pt>
    <dgm:pt modelId="{CAAEED2F-AC44-4514-84C2-160FDC42F579}" type="pres">
      <dgm:prSet presAssocID="{FD53903F-8A86-4D24-917A-36748269F973}" presName="sibTrans" presStyleLbl="sibTrans2D1" presStyleIdx="0" presStyleCnt="0"/>
      <dgm:spPr/>
    </dgm:pt>
    <dgm:pt modelId="{3617A269-0CD9-4948-9932-FA1AD12DE27E}" type="pres">
      <dgm:prSet presAssocID="{77AF15ED-F058-4A0B-B979-9880C6062DF0}" presName="compNode" presStyleCnt="0"/>
      <dgm:spPr/>
    </dgm:pt>
    <dgm:pt modelId="{5284ED54-4761-44DA-8086-D5FD397A1C95}" type="pres">
      <dgm:prSet presAssocID="{77AF15ED-F058-4A0B-B979-9880C6062DF0}" presName="node" presStyleLbl="node1" presStyleIdx="2" presStyleCnt="4" custScaleY="56152">
        <dgm:presLayoutVars>
          <dgm:bulletEnabled val="1"/>
        </dgm:presLayoutVars>
      </dgm:prSet>
      <dgm:spPr/>
    </dgm:pt>
    <dgm:pt modelId="{9666B65F-B8AB-44AD-8F33-AF566667E781}" type="pres">
      <dgm:prSet presAssocID="{77AF15ED-F058-4A0B-B979-9880C6062DF0}" presName="invisiNode" presStyleLbl="node1" presStyleIdx="2" presStyleCnt="4"/>
      <dgm:spPr/>
    </dgm:pt>
    <dgm:pt modelId="{41BC1ABA-1F87-4B1E-94EC-41724CD12655}" type="pres">
      <dgm:prSet presAssocID="{77AF15ED-F058-4A0B-B979-9880C6062DF0}" presName="imagNode" presStyleLbl="fgImgPlace1" presStyleIdx="2" presStyleCnt="4" custScaleX="90743" custScaleY="83293"/>
      <dgm:spPr/>
    </dgm:pt>
    <dgm:pt modelId="{A9D6457D-CBBF-4A28-8C38-C3F75EA43CF1}" type="pres">
      <dgm:prSet presAssocID="{E3B236AA-E864-46E4-BC91-F2D73633FEA4}" presName="sibTrans" presStyleLbl="sibTrans2D1" presStyleIdx="0" presStyleCnt="0"/>
      <dgm:spPr/>
    </dgm:pt>
    <dgm:pt modelId="{CDFA4098-C274-4C84-9513-F0698696D98A}" type="pres">
      <dgm:prSet presAssocID="{5DF8D196-4D3D-4940-9F32-682169997D7A}" presName="compNode" presStyleCnt="0"/>
      <dgm:spPr/>
    </dgm:pt>
    <dgm:pt modelId="{87B5BDBA-3C7A-41F1-8C33-F13937A84B36}" type="pres">
      <dgm:prSet presAssocID="{5DF8D196-4D3D-4940-9F32-682169997D7A}" presName="node" presStyleLbl="node1" presStyleIdx="3" presStyleCnt="4" custScaleY="57391">
        <dgm:presLayoutVars>
          <dgm:bulletEnabled val="1"/>
        </dgm:presLayoutVars>
      </dgm:prSet>
      <dgm:spPr/>
    </dgm:pt>
    <dgm:pt modelId="{928528D1-DD5F-4687-9BFE-878C43D23D5D}" type="pres">
      <dgm:prSet presAssocID="{5DF8D196-4D3D-4940-9F32-682169997D7A}" presName="invisiNode" presStyleLbl="node1" presStyleIdx="3" presStyleCnt="4"/>
      <dgm:spPr/>
    </dgm:pt>
    <dgm:pt modelId="{D88C7409-AB93-4FE3-A61D-F51EE8A4B008}" type="pres">
      <dgm:prSet presAssocID="{5DF8D196-4D3D-4940-9F32-682169997D7A}" presName="imagNode" presStyleLbl="fgImgPlace1" presStyleIdx="3" presStyleCnt="4"/>
      <dgm:spPr/>
    </dgm:pt>
  </dgm:ptLst>
  <dgm:cxnLst>
    <dgm:cxn modelId="{B9B85342-AC50-4E97-8E9E-2FD870B1E881}" srcId="{AA690160-D328-4B69-A035-90D3C82FA0A6}" destId="{5DF8D196-4D3D-4940-9F32-682169997D7A}" srcOrd="3" destOrd="0" parTransId="{51CE1848-AB2A-4E28-8CF5-8442E546E0C5}" sibTransId="{90C1E242-23BD-452C-B222-DCFA2D4DAE3B}"/>
    <dgm:cxn modelId="{7417CC53-98FE-43F4-BF56-8508FB7DA803}" srcId="{AA690160-D328-4B69-A035-90D3C82FA0A6}" destId="{5DD0A7D4-5781-4819-AF33-C5CE25A2D297}" srcOrd="1" destOrd="0" parTransId="{05B7C26E-C389-4346-849B-05526EF2C457}" sibTransId="{FD53903F-8A86-4D24-917A-36748269F973}"/>
    <dgm:cxn modelId="{48A5FA78-4931-4866-9622-942AD0D20426}" type="presOf" srcId="{77AF15ED-F058-4A0B-B979-9880C6062DF0}" destId="{5284ED54-4761-44DA-8086-D5FD397A1C95}" srcOrd="0" destOrd="0" presId="urn:microsoft.com/office/officeart/2005/8/layout/pList2#1"/>
    <dgm:cxn modelId="{4CF57F79-B6FD-4AF6-89EA-653CA7A588D3}" type="presOf" srcId="{5DF8D196-4D3D-4940-9F32-682169997D7A}" destId="{87B5BDBA-3C7A-41F1-8C33-F13937A84B36}" srcOrd="0" destOrd="0" presId="urn:microsoft.com/office/officeart/2005/8/layout/pList2#1"/>
    <dgm:cxn modelId="{3FF5B592-1F64-4669-9DD4-D0BF97F88BE6}" type="presOf" srcId="{AA690160-D328-4B69-A035-90D3C82FA0A6}" destId="{9E4DC8AD-1AC7-4E53-B32C-25202AFDB195}" srcOrd="0" destOrd="0" presId="urn:microsoft.com/office/officeart/2005/8/layout/pList2#1"/>
    <dgm:cxn modelId="{9A40B199-C1E6-4AA6-9486-07915ED7CAE7}" srcId="{AA690160-D328-4B69-A035-90D3C82FA0A6}" destId="{476E4177-EF8D-419E-AB8A-93E66CC82482}" srcOrd="0" destOrd="0" parTransId="{50A25A56-CEA1-40EB-822C-18475EA4B47A}" sibTransId="{A91F7A1B-DD1E-4B26-839C-2A5EF0A403AD}"/>
    <dgm:cxn modelId="{B9008FA8-6765-4FF4-913E-65534C759BCA}" type="presOf" srcId="{476E4177-EF8D-419E-AB8A-93E66CC82482}" destId="{2572025E-E8B8-4F94-94D0-DC22D7F762FB}" srcOrd="0" destOrd="0" presId="urn:microsoft.com/office/officeart/2005/8/layout/pList2#1"/>
    <dgm:cxn modelId="{352A05B9-89C9-4165-A582-1B4807DE5262}" type="presOf" srcId="{FD53903F-8A86-4D24-917A-36748269F973}" destId="{CAAEED2F-AC44-4514-84C2-160FDC42F579}" srcOrd="0" destOrd="0" presId="urn:microsoft.com/office/officeart/2005/8/layout/pList2#1"/>
    <dgm:cxn modelId="{FA2809D9-779E-4A89-B6E3-4FD891F70CFD}" type="presOf" srcId="{5DD0A7D4-5781-4819-AF33-C5CE25A2D297}" destId="{E4B0666F-2CF1-4C21-A251-46E6EBFF7C1D}" srcOrd="0" destOrd="0" presId="urn:microsoft.com/office/officeart/2005/8/layout/pList2#1"/>
    <dgm:cxn modelId="{CD3B69F4-72CF-49E2-8926-8FD63E771977}" srcId="{AA690160-D328-4B69-A035-90D3C82FA0A6}" destId="{77AF15ED-F058-4A0B-B979-9880C6062DF0}" srcOrd="2" destOrd="0" parTransId="{0DF2CDB2-0880-4047-8447-A17EAE7580E4}" sibTransId="{E3B236AA-E864-46E4-BC91-F2D73633FEA4}"/>
    <dgm:cxn modelId="{105DB3F4-7881-4678-B694-854EB9895FCC}" type="presOf" srcId="{A91F7A1B-DD1E-4B26-839C-2A5EF0A403AD}" destId="{3DB5F289-A8C3-40D5-8393-8636D9BFFD29}" srcOrd="0" destOrd="0" presId="urn:microsoft.com/office/officeart/2005/8/layout/pList2#1"/>
    <dgm:cxn modelId="{B4BB96FC-9A2E-4228-8EE0-335C2C446BFB}" type="presOf" srcId="{E3B236AA-E864-46E4-BC91-F2D73633FEA4}" destId="{A9D6457D-CBBF-4A28-8C38-C3F75EA43CF1}" srcOrd="0" destOrd="0" presId="urn:microsoft.com/office/officeart/2005/8/layout/pList2#1"/>
    <dgm:cxn modelId="{BD74FBBD-B42A-4E7C-B3AC-1A35E8819389}" type="presParOf" srcId="{9E4DC8AD-1AC7-4E53-B32C-25202AFDB195}" destId="{ACBF4AF3-FAB8-444C-81AB-52C89640E279}" srcOrd="0" destOrd="0" presId="urn:microsoft.com/office/officeart/2005/8/layout/pList2#1"/>
    <dgm:cxn modelId="{D81259E2-FE8B-40A0-AFBB-710E7B08F07E}" type="presParOf" srcId="{9E4DC8AD-1AC7-4E53-B32C-25202AFDB195}" destId="{78248EF9-FFBB-4EB0-94C4-16A1D0A1A170}" srcOrd="1" destOrd="0" presId="urn:microsoft.com/office/officeart/2005/8/layout/pList2#1"/>
    <dgm:cxn modelId="{CF392669-3968-4C78-A893-F4EA8BCD9C03}" type="presParOf" srcId="{78248EF9-FFBB-4EB0-94C4-16A1D0A1A170}" destId="{CC8831C0-DF59-484B-83B2-A708366B3EB6}" srcOrd="0" destOrd="0" presId="urn:microsoft.com/office/officeart/2005/8/layout/pList2#1"/>
    <dgm:cxn modelId="{FF34006A-CF70-407B-A15D-A450C588D4C0}" type="presParOf" srcId="{CC8831C0-DF59-484B-83B2-A708366B3EB6}" destId="{2572025E-E8B8-4F94-94D0-DC22D7F762FB}" srcOrd="0" destOrd="0" presId="urn:microsoft.com/office/officeart/2005/8/layout/pList2#1"/>
    <dgm:cxn modelId="{B754B99F-3D5B-440C-821D-D627FD016C12}" type="presParOf" srcId="{CC8831C0-DF59-484B-83B2-A708366B3EB6}" destId="{2E2B4276-DB06-4C66-80FF-919CDE10A5FE}" srcOrd="1" destOrd="0" presId="urn:microsoft.com/office/officeart/2005/8/layout/pList2#1"/>
    <dgm:cxn modelId="{5B544C11-1E1F-4B65-8DA1-F8ADAD450A85}" type="presParOf" srcId="{CC8831C0-DF59-484B-83B2-A708366B3EB6}" destId="{C43EB61A-2E04-409F-8F87-79F190ED3CE0}" srcOrd="2" destOrd="0" presId="urn:microsoft.com/office/officeart/2005/8/layout/pList2#1"/>
    <dgm:cxn modelId="{A88C0BA0-7D03-4D99-8589-043A38862C2E}" type="presParOf" srcId="{78248EF9-FFBB-4EB0-94C4-16A1D0A1A170}" destId="{3DB5F289-A8C3-40D5-8393-8636D9BFFD29}" srcOrd="1" destOrd="0" presId="urn:microsoft.com/office/officeart/2005/8/layout/pList2#1"/>
    <dgm:cxn modelId="{E9F6D9E6-B8F7-4888-9B42-B0C1C9E12284}" type="presParOf" srcId="{78248EF9-FFBB-4EB0-94C4-16A1D0A1A170}" destId="{0C509E44-86D3-42D8-94FF-9B9788BAB857}" srcOrd="2" destOrd="0" presId="urn:microsoft.com/office/officeart/2005/8/layout/pList2#1"/>
    <dgm:cxn modelId="{47FBB78D-BC9E-4C58-AD27-CC73E9C73C0B}" type="presParOf" srcId="{0C509E44-86D3-42D8-94FF-9B9788BAB857}" destId="{E4B0666F-2CF1-4C21-A251-46E6EBFF7C1D}" srcOrd="0" destOrd="0" presId="urn:microsoft.com/office/officeart/2005/8/layout/pList2#1"/>
    <dgm:cxn modelId="{24A83E1E-02C7-41F6-82DF-BFBD59BE3294}" type="presParOf" srcId="{0C509E44-86D3-42D8-94FF-9B9788BAB857}" destId="{BBFA0B92-8C45-4EAA-A200-A78384D846A7}" srcOrd="1" destOrd="0" presId="urn:microsoft.com/office/officeart/2005/8/layout/pList2#1"/>
    <dgm:cxn modelId="{B5DBFDF1-7168-4730-895B-2ABF057D09C1}" type="presParOf" srcId="{0C509E44-86D3-42D8-94FF-9B9788BAB857}" destId="{BF646D7A-C7D0-4489-A68F-61F32B7DB0C6}" srcOrd="2" destOrd="0" presId="urn:microsoft.com/office/officeart/2005/8/layout/pList2#1"/>
    <dgm:cxn modelId="{89CA9F44-E32B-4AF1-9DF4-E5E1D02F5697}" type="presParOf" srcId="{78248EF9-FFBB-4EB0-94C4-16A1D0A1A170}" destId="{CAAEED2F-AC44-4514-84C2-160FDC42F579}" srcOrd="3" destOrd="0" presId="urn:microsoft.com/office/officeart/2005/8/layout/pList2#1"/>
    <dgm:cxn modelId="{6ADEEB4B-4EC6-4C39-BCAB-6ABA91A4C116}" type="presParOf" srcId="{78248EF9-FFBB-4EB0-94C4-16A1D0A1A170}" destId="{3617A269-0CD9-4948-9932-FA1AD12DE27E}" srcOrd="4" destOrd="0" presId="urn:microsoft.com/office/officeart/2005/8/layout/pList2#1"/>
    <dgm:cxn modelId="{9F497D5A-1578-46E5-B9F4-65BEDBCE39FD}" type="presParOf" srcId="{3617A269-0CD9-4948-9932-FA1AD12DE27E}" destId="{5284ED54-4761-44DA-8086-D5FD397A1C95}" srcOrd="0" destOrd="0" presId="urn:microsoft.com/office/officeart/2005/8/layout/pList2#1"/>
    <dgm:cxn modelId="{ED889AC9-3EEC-4EED-92B9-7CEF03E6468E}" type="presParOf" srcId="{3617A269-0CD9-4948-9932-FA1AD12DE27E}" destId="{9666B65F-B8AB-44AD-8F33-AF566667E781}" srcOrd="1" destOrd="0" presId="urn:microsoft.com/office/officeart/2005/8/layout/pList2#1"/>
    <dgm:cxn modelId="{BFAAEBA1-812B-489D-8B64-61F9F0BAEF73}" type="presParOf" srcId="{3617A269-0CD9-4948-9932-FA1AD12DE27E}" destId="{41BC1ABA-1F87-4B1E-94EC-41724CD12655}" srcOrd="2" destOrd="0" presId="urn:microsoft.com/office/officeart/2005/8/layout/pList2#1"/>
    <dgm:cxn modelId="{F0BC0500-DCEF-4BA1-B664-41366188F429}" type="presParOf" srcId="{78248EF9-FFBB-4EB0-94C4-16A1D0A1A170}" destId="{A9D6457D-CBBF-4A28-8C38-C3F75EA43CF1}" srcOrd="5" destOrd="0" presId="urn:microsoft.com/office/officeart/2005/8/layout/pList2#1"/>
    <dgm:cxn modelId="{DA03D42A-C99C-42DC-9946-07FB8D4F45BA}" type="presParOf" srcId="{78248EF9-FFBB-4EB0-94C4-16A1D0A1A170}" destId="{CDFA4098-C274-4C84-9513-F0698696D98A}" srcOrd="6" destOrd="0" presId="urn:microsoft.com/office/officeart/2005/8/layout/pList2#1"/>
    <dgm:cxn modelId="{238C912E-A9A8-4343-9FE4-6C91D0A30F63}" type="presParOf" srcId="{CDFA4098-C274-4C84-9513-F0698696D98A}" destId="{87B5BDBA-3C7A-41F1-8C33-F13937A84B36}" srcOrd="0" destOrd="0" presId="urn:microsoft.com/office/officeart/2005/8/layout/pList2#1"/>
    <dgm:cxn modelId="{CDD9949B-2C62-4891-8458-DBC86E7C88F7}" type="presParOf" srcId="{CDFA4098-C274-4C84-9513-F0698696D98A}" destId="{928528D1-DD5F-4687-9BFE-878C43D23D5D}" srcOrd="1" destOrd="0" presId="urn:microsoft.com/office/officeart/2005/8/layout/pList2#1"/>
    <dgm:cxn modelId="{FE376B8E-0442-40F7-8D7B-E0D7DFCD730C}" type="presParOf" srcId="{CDFA4098-C274-4C84-9513-F0698696D98A}" destId="{D88C7409-AB93-4FE3-A61D-F51EE8A4B008}" srcOrd="2" destOrd="0" presId="urn:microsoft.com/office/officeart/2005/8/layout/pList2#1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1A66772-F185-4D58-B8BB-E9370D7A7A2B}" type="doc">
      <dgm:prSet loTypeId="urn:microsoft.com/office/officeart/2018/5/layout/IconCircleLabelList" loCatId="icon" qsTypeId="urn:microsoft.com/office/officeart/2005/8/quickstyle/simple1" qsCatId="simple" csTypeId="urn:microsoft.com/office/officeart/2018/5/colors/Iconchunking_neutralicon_colorful1" csCatId="colorful" phldr="1"/>
      <dgm:spPr/>
      <dgm:t>
        <a:bodyPr/>
        <a:lstStyle/>
        <a:p>
          <a:endParaRPr lang="en-US"/>
        </a:p>
      </dgm:t>
    </dgm:pt>
    <dgm:pt modelId="{40FC4FFE-8987-4A26-B7F4-8A516F18ADA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BUDIDAYA </a:t>
          </a:r>
        </a:p>
      </dgm:t>
    </dgm:pt>
    <dgm:pt modelId="{CAD7EF86-FB23-41F6-BF42-040B36DEFDB1}" cxnId="{C7AD8469-3C68-4AF9-AB82-79B0043AA120}" type="parTrans">
      <dgm:prSet/>
      <dgm:spPr/>
      <dgm:t>
        <a:bodyPr/>
        <a:lstStyle/>
        <a:p>
          <a:endParaRPr lang="en-US"/>
        </a:p>
      </dgm:t>
    </dgm:pt>
    <dgm:pt modelId="{5B62599A-5C9B-48E7-896E-EA782AC60C8B}" cxnId="{C7AD8469-3C68-4AF9-AB82-79B0043AA120}" type="sibTrans">
      <dgm:prSet/>
      <dgm:spPr/>
      <dgm:t>
        <a:bodyPr/>
        <a:lstStyle/>
        <a:p>
          <a:endParaRPr lang="en-US"/>
        </a:p>
      </dgm:t>
    </dgm:pt>
    <dgm:pt modelId="{49225C73-1633-42F1-AB3B-7CB183E5F8B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PANEN</a:t>
          </a:r>
        </a:p>
      </dgm:t>
    </dgm:pt>
    <dgm:pt modelId="{1A0E2090-1D4F-438A-8766-B6030CE01ADD}" cxnId="{A9154303-8225-4248-91DC-1B0156A35F07}" type="parTrans">
      <dgm:prSet/>
      <dgm:spPr/>
      <dgm:t>
        <a:bodyPr/>
        <a:lstStyle/>
        <a:p>
          <a:endParaRPr lang="en-US"/>
        </a:p>
      </dgm:t>
    </dgm:pt>
    <dgm:pt modelId="{9646853A-8964-4519-A5B1-0B7D18B2983D}" cxnId="{A9154303-8225-4248-91DC-1B0156A35F07}" type="sibTrans">
      <dgm:prSet/>
      <dgm:spPr/>
      <dgm:t>
        <a:bodyPr/>
        <a:lstStyle/>
        <a:p>
          <a:endParaRPr lang="en-US"/>
        </a:p>
      </dgm:t>
    </dgm:pt>
    <dgm:pt modelId="{1C383F32-22E8-4F62-A3E0-BDC3D5F4899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PASCAPANEN</a:t>
          </a:r>
        </a:p>
      </dgm:t>
    </dgm:pt>
    <dgm:pt modelId="{A7920A2F-3244-4159-AF04-6A1D38B7B317}" cxnId="{C4CCE57E-E871-46D6-BAD5-880252C95D22}" type="parTrans">
      <dgm:prSet/>
      <dgm:spPr/>
      <dgm:t>
        <a:bodyPr/>
        <a:lstStyle/>
        <a:p>
          <a:endParaRPr lang="en-US"/>
        </a:p>
      </dgm:t>
    </dgm:pt>
    <dgm:pt modelId="{8500F72A-2C6D-4FDF-9C1D-CA691380EB0B}" cxnId="{C4CCE57E-E871-46D6-BAD5-880252C95D22}" type="sibTrans">
      <dgm:prSet/>
      <dgm:spPr/>
      <dgm:t>
        <a:bodyPr/>
        <a:lstStyle/>
        <a:p>
          <a:endParaRPr lang="en-US"/>
        </a:p>
      </dgm:t>
    </dgm:pt>
    <dgm:pt modelId="{50B3CE7C-E10B-4E23-BD93-03664997C932}" type="pres">
      <dgm:prSet presAssocID="{01A66772-F185-4D58-B8BB-E9370D7A7A2B}" presName="root" presStyleCnt="0">
        <dgm:presLayoutVars>
          <dgm:dir/>
          <dgm:resizeHandles val="exact"/>
        </dgm:presLayoutVars>
      </dgm:prSet>
      <dgm:spPr/>
    </dgm:pt>
    <dgm:pt modelId="{DE9CE479-E4AE-4283-AEF1-10C1535B4324}" type="pres">
      <dgm:prSet presAssocID="{40FC4FFE-8987-4A26-B7F4-8A516F18ADAE}" presName="compNode" presStyleCnt="0"/>
      <dgm:spPr/>
    </dgm:pt>
    <dgm:pt modelId="{B59FCF02-CAD2-4D6F-9542-AD86711168CA}" type="pres">
      <dgm:prSet presAssocID="{40FC4FFE-8987-4A26-B7F4-8A516F18ADAE}" presName="iconBgRect" presStyleLbl="bgShp" presStyleIdx="0" presStyleCnt="3"/>
      <dgm:spPr/>
    </dgm:pt>
    <dgm:pt modelId="{7C175B98-93F4-4D7C-BB95-1514AB879CD5}" type="pres">
      <dgm:prSet presAssocID="{40FC4FFE-8987-4A26-B7F4-8A516F18ADAE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677A3090-5F01-43FD-9FA6-C0420AD80FD6}" type="pres">
      <dgm:prSet presAssocID="{40FC4FFE-8987-4A26-B7F4-8A516F18ADAE}" presName="spaceRect" presStyleCnt="0"/>
      <dgm:spPr/>
    </dgm:pt>
    <dgm:pt modelId="{127117FB-F8A7-4A20-A8A7-EC686DDC76D0}" type="pres">
      <dgm:prSet presAssocID="{40FC4FFE-8987-4A26-B7F4-8A516F18ADAE}" presName="textRect" presStyleLbl="revTx" presStyleIdx="0" presStyleCnt="3">
        <dgm:presLayoutVars>
          <dgm:chMax val="1"/>
          <dgm:chPref val="1"/>
        </dgm:presLayoutVars>
      </dgm:prSet>
      <dgm:spPr/>
    </dgm:pt>
    <dgm:pt modelId="{FD1EED9C-83D3-41AD-A09B-D3B36354168F}" type="pres">
      <dgm:prSet presAssocID="{5B62599A-5C9B-48E7-896E-EA782AC60C8B}" presName="sibTrans" presStyleCnt="0"/>
      <dgm:spPr/>
    </dgm:pt>
    <dgm:pt modelId="{C998AB0A-577D-44AA-A068-F634DDE7BD47}" type="pres">
      <dgm:prSet presAssocID="{49225C73-1633-42F1-AB3B-7CB183E5F8B8}" presName="compNode" presStyleCnt="0"/>
      <dgm:spPr/>
    </dgm:pt>
    <dgm:pt modelId="{BCD8CDD9-0C56-4401-ADB1-8B48DAB2C96F}" type="pres">
      <dgm:prSet presAssocID="{49225C73-1633-42F1-AB3B-7CB183E5F8B8}" presName="iconBgRect" presStyleLbl="bgShp" presStyleIdx="1" presStyleCnt="3"/>
      <dgm:spPr/>
    </dgm:pt>
    <dgm:pt modelId="{DB4CA7C4-FCA1-4127-B20A-2A5C031A3CF4}" type="pres">
      <dgm:prSet presAssocID="{49225C73-1633-42F1-AB3B-7CB183E5F8B8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9B0C8FBF-0BDD-48A5-967E-F3FE71659F6A}" type="pres">
      <dgm:prSet presAssocID="{49225C73-1633-42F1-AB3B-7CB183E5F8B8}" presName="spaceRect" presStyleCnt="0"/>
      <dgm:spPr/>
    </dgm:pt>
    <dgm:pt modelId="{7E6FE37A-5DB0-4899-9FCB-0CE39BC185F8}" type="pres">
      <dgm:prSet presAssocID="{49225C73-1633-42F1-AB3B-7CB183E5F8B8}" presName="textRect" presStyleLbl="revTx" presStyleIdx="1" presStyleCnt="3">
        <dgm:presLayoutVars>
          <dgm:chMax val="1"/>
          <dgm:chPref val="1"/>
        </dgm:presLayoutVars>
      </dgm:prSet>
      <dgm:spPr/>
    </dgm:pt>
    <dgm:pt modelId="{5A266296-0042-402F-92EF-D59AB148E92E}" type="pres">
      <dgm:prSet presAssocID="{9646853A-8964-4519-A5B1-0B7D18B2983D}" presName="sibTrans" presStyleCnt="0"/>
      <dgm:spPr/>
    </dgm:pt>
    <dgm:pt modelId="{ECFA770B-DE2C-4683-A038-58D0FE44BC27}" type="pres">
      <dgm:prSet presAssocID="{1C383F32-22E8-4F62-A3E0-BDC3D5F48992}" presName="compNode" presStyleCnt="0"/>
      <dgm:spPr/>
    </dgm:pt>
    <dgm:pt modelId="{FF93E135-77D6-48A0-8871-9BC93D705D06}" type="pres">
      <dgm:prSet presAssocID="{1C383F32-22E8-4F62-A3E0-BDC3D5F48992}" presName="iconBgRect" presStyleLbl="bgShp" presStyleIdx="2" presStyleCnt="3"/>
      <dgm:spPr/>
    </dgm:pt>
    <dgm:pt modelId="{39509775-983E-4110-B989-EE2CD6514BE0}" type="pres">
      <dgm:prSet presAssocID="{1C383F32-22E8-4F62-A3E0-BDC3D5F48992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493B43B2-705C-4AE5-8A77-D8DEEDA1B5CF}" type="pres">
      <dgm:prSet presAssocID="{1C383F32-22E8-4F62-A3E0-BDC3D5F48992}" presName="spaceRect" presStyleCnt="0"/>
      <dgm:spPr/>
    </dgm:pt>
    <dgm:pt modelId="{1AEDC777-00B3-41D7-9AE1-23D741E941C3}" type="pres">
      <dgm:prSet presAssocID="{1C383F32-22E8-4F62-A3E0-BDC3D5F48992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A9154303-8225-4248-91DC-1B0156A35F07}" srcId="{01A66772-F185-4D58-B8BB-E9370D7A7A2B}" destId="{49225C73-1633-42F1-AB3B-7CB183E5F8B8}" srcOrd="1" destOrd="0" parTransId="{1A0E2090-1D4F-438A-8766-B6030CE01ADD}" sibTransId="{9646853A-8964-4519-A5B1-0B7D18B2983D}"/>
    <dgm:cxn modelId="{7A710F69-5154-4855-ACF5-BC7C1BF85A80}" type="presOf" srcId="{49225C73-1633-42F1-AB3B-7CB183E5F8B8}" destId="{7E6FE37A-5DB0-4899-9FCB-0CE39BC185F8}" srcOrd="0" destOrd="0" presId="urn:microsoft.com/office/officeart/2018/5/layout/IconCircleLabelList"/>
    <dgm:cxn modelId="{C7AD8469-3C68-4AF9-AB82-79B0043AA120}" srcId="{01A66772-F185-4D58-B8BB-E9370D7A7A2B}" destId="{40FC4FFE-8987-4A26-B7F4-8A516F18ADAE}" srcOrd="0" destOrd="0" parTransId="{CAD7EF86-FB23-41F6-BF42-040B36DEFDB1}" sibTransId="{5B62599A-5C9B-48E7-896E-EA782AC60C8B}"/>
    <dgm:cxn modelId="{676D3A6A-6EA7-4483-BB12-0BD4A7D7AF9D}" type="presOf" srcId="{01A66772-F185-4D58-B8BB-E9370D7A7A2B}" destId="{50B3CE7C-E10B-4E23-BD93-03664997C932}" srcOrd="0" destOrd="0" presId="urn:microsoft.com/office/officeart/2018/5/layout/IconCircleLabelList"/>
    <dgm:cxn modelId="{1496FC70-DB8B-48D4-98DE-DD2856E389EE}" type="presOf" srcId="{1C383F32-22E8-4F62-A3E0-BDC3D5F48992}" destId="{1AEDC777-00B3-41D7-9AE1-23D741E941C3}" srcOrd="0" destOrd="0" presId="urn:microsoft.com/office/officeart/2018/5/layout/IconCircleLabelList"/>
    <dgm:cxn modelId="{C4CCE57E-E871-46D6-BAD5-880252C95D22}" srcId="{01A66772-F185-4D58-B8BB-E9370D7A7A2B}" destId="{1C383F32-22E8-4F62-A3E0-BDC3D5F48992}" srcOrd="2" destOrd="0" parTransId="{A7920A2F-3244-4159-AF04-6A1D38B7B317}" sibTransId="{8500F72A-2C6D-4FDF-9C1D-CA691380EB0B}"/>
    <dgm:cxn modelId="{355227E3-55E0-4343-BC8D-FC0EB1694F48}" type="presOf" srcId="{40FC4FFE-8987-4A26-B7F4-8A516F18ADAE}" destId="{127117FB-F8A7-4A20-A8A7-EC686DDC76D0}" srcOrd="0" destOrd="0" presId="urn:microsoft.com/office/officeart/2018/5/layout/IconCircleLabelList"/>
    <dgm:cxn modelId="{555498CB-3ED1-404E-A25F-EB243EFC5FB1}" type="presParOf" srcId="{50B3CE7C-E10B-4E23-BD93-03664997C932}" destId="{DE9CE479-E4AE-4283-AEF1-10C1535B4324}" srcOrd="0" destOrd="0" presId="urn:microsoft.com/office/officeart/2018/5/layout/IconCircleLabelList"/>
    <dgm:cxn modelId="{11F12D49-CD08-4D50-BD13-3ECBC3A476A4}" type="presParOf" srcId="{DE9CE479-E4AE-4283-AEF1-10C1535B4324}" destId="{B59FCF02-CAD2-4D6F-9542-AD86711168CA}" srcOrd="0" destOrd="0" presId="urn:microsoft.com/office/officeart/2018/5/layout/IconCircleLabelList"/>
    <dgm:cxn modelId="{F443A659-540B-487B-97F9-49219CF60D6B}" type="presParOf" srcId="{DE9CE479-E4AE-4283-AEF1-10C1535B4324}" destId="{7C175B98-93F4-4D7C-BB95-1514AB879CD5}" srcOrd="1" destOrd="0" presId="urn:microsoft.com/office/officeart/2018/5/layout/IconCircleLabelList"/>
    <dgm:cxn modelId="{A503D7AB-7D64-4163-93B5-1CEEDAE81823}" type="presParOf" srcId="{DE9CE479-E4AE-4283-AEF1-10C1535B4324}" destId="{677A3090-5F01-43FD-9FA6-C0420AD80FD6}" srcOrd="2" destOrd="0" presId="urn:microsoft.com/office/officeart/2018/5/layout/IconCircleLabelList"/>
    <dgm:cxn modelId="{780188ED-7DCE-45BB-B6AF-91BE48969612}" type="presParOf" srcId="{DE9CE479-E4AE-4283-AEF1-10C1535B4324}" destId="{127117FB-F8A7-4A20-A8A7-EC686DDC76D0}" srcOrd="3" destOrd="0" presId="urn:microsoft.com/office/officeart/2018/5/layout/IconCircleLabelList"/>
    <dgm:cxn modelId="{155719F8-A89B-4E96-BC49-C48BC717F480}" type="presParOf" srcId="{50B3CE7C-E10B-4E23-BD93-03664997C932}" destId="{FD1EED9C-83D3-41AD-A09B-D3B36354168F}" srcOrd="1" destOrd="0" presId="urn:microsoft.com/office/officeart/2018/5/layout/IconCircleLabelList"/>
    <dgm:cxn modelId="{2772E199-56B0-4310-A55E-67D00CA3E59E}" type="presParOf" srcId="{50B3CE7C-E10B-4E23-BD93-03664997C932}" destId="{C998AB0A-577D-44AA-A068-F634DDE7BD47}" srcOrd="2" destOrd="0" presId="urn:microsoft.com/office/officeart/2018/5/layout/IconCircleLabelList"/>
    <dgm:cxn modelId="{4E351D18-D97F-4B92-A608-2E9600B91C28}" type="presParOf" srcId="{C998AB0A-577D-44AA-A068-F634DDE7BD47}" destId="{BCD8CDD9-0C56-4401-ADB1-8B48DAB2C96F}" srcOrd="0" destOrd="0" presId="urn:microsoft.com/office/officeart/2018/5/layout/IconCircleLabelList"/>
    <dgm:cxn modelId="{B3DC724C-4569-4E9D-BD5A-49E4CD991FD0}" type="presParOf" srcId="{C998AB0A-577D-44AA-A068-F634DDE7BD47}" destId="{DB4CA7C4-FCA1-4127-B20A-2A5C031A3CF4}" srcOrd="1" destOrd="0" presId="urn:microsoft.com/office/officeart/2018/5/layout/IconCircleLabelList"/>
    <dgm:cxn modelId="{AD1AB552-CCE0-4911-BB9E-5D4A60B21F4F}" type="presParOf" srcId="{C998AB0A-577D-44AA-A068-F634DDE7BD47}" destId="{9B0C8FBF-0BDD-48A5-967E-F3FE71659F6A}" srcOrd="2" destOrd="0" presId="urn:microsoft.com/office/officeart/2018/5/layout/IconCircleLabelList"/>
    <dgm:cxn modelId="{8558F796-2D01-40FE-A21A-7530EEBC3BC3}" type="presParOf" srcId="{C998AB0A-577D-44AA-A068-F634DDE7BD47}" destId="{7E6FE37A-5DB0-4899-9FCB-0CE39BC185F8}" srcOrd="3" destOrd="0" presId="urn:microsoft.com/office/officeart/2018/5/layout/IconCircleLabelList"/>
    <dgm:cxn modelId="{1532E2BE-82E9-40A4-A6F7-40B60FC879AE}" type="presParOf" srcId="{50B3CE7C-E10B-4E23-BD93-03664997C932}" destId="{5A266296-0042-402F-92EF-D59AB148E92E}" srcOrd="3" destOrd="0" presId="urn:microsoft.com/office/officeart/2018/5/layout/IconCircleLabelList"/>
    <dgm:cxn modelId="{3A7F4DB9-1469-4F58-B633-24B7EEE084D1}" type="presParOf" srcId="{50B3CE7C-E10B-4E23-BD93-03664997C932}" destId="{ECFA770B-DE2C-4683-A038-58D0FE44BC27}" srcOrd="4" destOrd="0" presId="urn:microsoft.com/office/officeart/2018/5/layout/IconCircleLabelList"/>
    <dgm:cxn modelId="{91311827-CDAC-4BA8-B4A3-117AFD1CEE2D}" type="presParOf" srcId="{ECFA770B-DE2C-4683-A038-58D0FE44BC27}" destId="{FF93E135-77D6-48A0-8871-9BC93D705D06}" srcOrd="0" destOrd="0" presId="urn:microsoft.com/office/officeart/2018/5/layout/IconCircleLabelList"/>
    <dgm:cxn modelId="{83B7CA40-11B7-4507-8422-A40F02D469B2}" type="presParOf" srcId="{ECFA770B-DE2C-4683-A038-58D0FE44BC27}" destId="{39509775-983E-4110-B989-EE2CD6514BE0}" srcOrd="1" destOrd="0" presId="urn:microsoft.com/office/officeart/2018/5/layout/IconCircleLabelList"/>
    <dgm:cxn modelId="{A44BB251-01EB-4DEF-A28C-6D495183E4DC}" type="presParOf" srcId="{ECFA770B-DE2C-4683-A038-58D0FE44BC27}" destId="{493B43B2-705C-4AE5-8A77-D8DEEDA1B5CF}" srcOrd="2" destOrd="0" presId="urn:microsoft.com/office/officeart/2018/5/layout/IconCircleLabelList"/>
    <dgm:cxn modelId="{1EFA52DF-3C80-4DAA-BED6-AFE2F81796B2}" type="presParOf" srcId="{ECFA770B-DE2C-4683-A038-58D0FE44BC27}" destId="{1AEDC777-00B3-41D7-9AE1-23D741E941C3}" srcOrd="3" destOrd="0" presId="urn:microsoft.com/office/officeart/2018/5/layout/IconCircleLabelList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1A66772-F185-4D58-B8BB-E9370D7A7A2B}" type="doc">
      <dgm:prSet loTypeId="urn:microsoft.com/office/officeart/2018/5/layout/IconCircleLabelList" loCatId="icon" qsTypeId="urn:microsoft.com/office/officeart/2005/8/quickstyle/simple1" qsCatId="simple" csTypeId="urn:microsoft.com/office/officeart/2018/5/colors/Iconchunking_neutralicon_colorful1" csCatId="colorful" phldr="1"/>
      <dgm:spPr/>
      <dgm:t>
        <a:bodyPr/>
        <a:lstStyle/>
        <a:p>
          <a:endParaRPr lang="en-US"/>
        </a:p>
      </dgm:t>
    </dgm:pt>
    <dgm:pt modelId="{40FC4FFE-8987-4A26-B7F4-8A516F18ADA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 err="1"/>
            <a:t>Permentan</a:t>
          </a:r>
          <a:r>
            <a:rPr lang="en-US" dirty="0"/>
            <a:t> gap </a:t>
          </a:r>
        </a:p>
      </dgm:t>
    </dgm:pt>
    <dgm:pt modelId="{CAD7EF86-FB23-41F6-BF42-040B36DEFDB1}" cxnId="{C7AD8469-3C68-4AF9-AB82-79B0043AA120}" type="parTrans">
      <dgm:prSet/>
      <dgm:spPr/>
      <dgm:t>
        <a:bodyPr/>
        <a:lstStyle/>
        <a:p>
          <a:endParaRPr lang="en-US"/>
        </a:p>
      </dgm:t>
    </dgm:pt>
    <dgm:pt modelId="{5B62599A-5C9B-48E7-896E-EA782AC60C8B}" cxnId="{C7AD8469-3C68-4AF9-AB82-79B0043AA120}" type="sibTrans">
      <dgm:prSet/>
      <dgm:spPr/>
      <dgm:t>
        <a:bodyPr/>
        <a:lstStyle/>
        <a:p>
          <a:endParaRPr lang="en-US"/>
        </a:p>
      </dgm:t>
    </dgm:pt>
    <dgm:pt modelId="{49225C73-1633-42F1-AB3B-7CB183E5F8B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Check list </a:t>
          </a:r>
          <a:r>
            <a:rPr lang="en-US" dirty="0" err="1"/>
            <a:t>indo</a:t>
          </a:r>
          <a:r>
            <a:rPr lang="en-US" dirty="0"/>
            <a:t> gap </a:t>
          </a:r>
          <a:r>
            <a:rPr lang="en-US" dirty="0" err="1"/>
            <a:t>harmonisasi</a:t>
          </a:r>
          <a:r>
            <a:rPr lang="en-US" dirty="0"/>
            <a:t> </a:t>
          </a:r>
          <a:r>
            <a:rPr lang="en-US" dirty="0" err="1"/>
            <a:t>dengan</a:t>
          </a:r>
          <a:r>
            <a:rPr lang="en-US" dirty="0"/>
            <a:t> </a:t>
          </a:r>
          <a:r>
            <a:rPr lang="en-US" dirty="0" err="1"/>
            <a:t>asean</a:t>
          </a:r>
          <a:r>
            <a:rPr lang="en-US" dirty="0"/>
            <a:t> gap</a:t>
          </a:r>
        </a:p>
      </dgm:t>
    </dgm:pt>
    <dgm:pt modelId="{1A0E2090-1D4F-438A-8766-B6030CE01ADD}" cxnId="{A9154303-8225-4248-91DC-1B0156A35F07}" type="parTrans">
      <dgm:prSet/>
      <dgm:spPr/>
      <dgm:t>
        <a:bodyPr/>
        <a:lstStyle/>
        <a:p>
          <a:endParaRPr lang="en-US"/>
        </a:p>
      </dgm:t>
    </dgm:pt>
    <dgm:pt modelId="{9646853A-8964-4519-A5B1-0B7D18B2983D}" cxnId="{A9154303-8225-4248-91DC-1B0156A35F07}" type="sibTrans">
      <dgm:prSet/>
      <dgm:spPr/>
      <dgm:t>
        <a:bodyPr/>
        <a:lstStyle/>
        <a:p>
          <a:endParaRPr lang="en-US"/>
        </a:p>
      </dgm:t>
    </dgm:pt>
    <dgm:pt modelId="{50B3CE7C-E10B-4E23-BD93-03664997C932}" type="pres">
      <dgm:prSet presAssocID="{01A66772-F185-4D58-B8BB-E9370D7A7A2B}" presName="root" presStyleCnt="0">
        <dgm:presLayoutVars>
          <dgm:dir/>
          <dgm:resizeHandles val="exact"/>
        </dgm:presLayoutVars>
      </dgm:prSet>
      <dgm:spPr/>
    </dgm:pt>
    <dgm:pt modelId="{DE9CE479-E4AE-4283-AEF1-10C1535B4324}" type="pres">
      <dgm:prSet presAssocID="{40FC4FFE-8987-4A26-B7F4-8A516F18ADAE}" presName="compNode" presStyleCnt="0"/>
      <dgm:spPr/>
    </dgm:pt>
    <dgm:pt modelId="{B59FCF02-CAD2-4D6F-9542-AD86711168CA}" type="pres">
      <dgm:prSet presAssocID="{40FC4FFE-8987-4A26-B7F4-8A516F18ADAE}" presName="iconBgRect" presStyleLbl="bgShp" presStyleIdx="0" presStyleCnt="2"/>
      <dgm:spPr/>
    </dgm:pt>
    <dgm:pt modelId="{7C175B98-93F4-4D7C-BB95-1514AB879CD5}" type="pres">
      <dgm:prSet presAssocID="{40FC4FFE-8987-4A26-B7F4-8A516F18ADAE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677A3090-5F01-43FD-9FA6-C0420AD80FD6}" type="pres">
      <dgm:prSet presAssocID="{40FC4FFE-8987-4A26-B7F4-8A516F18ADAE}" presName="spaceRect" presStyleCnt="0"/>
      <dgm:spPr/>
    </dgm:pt>
    <dgm:pt modelId="{127117FB-F8A7-4A20-A8A7-EC686DDC76D0}" type="pres">
      <dgm:prSet presAssocID="{40FC4FFE-8987-4A26-B7F4-8A516F18ADAE}" presName="textRect" presStyleLbl="revTx" presStyleIdx="0" presStyleCnt="2">
        <dgm:presLayoutVars>
          <dgm:chMax val="1"/>
          <dgm:chPref val="1"/>
        </dgm:presLayoutVars>
      </dgm:prSet>
      <dgm:spPr/>
    </dgm:pt>
    <dgm:pt modelId="{FD1EED9C-83D3-41AD-A09B-D3B36354168F}" type="pres">
      <dgm:prSet presAssocID="{5B62599A-5C9B-48E7-896E-EA782AC60C8B}" presName="sibTrans" presStyleCnt="0"/>
      <dgm:spPr/>
    </dgm:pt>
    <dgm:pt modelId="{C998AB0A-577D-44AA-A068-F634DDE7BD47}" type="pres">
      <dgm:prSet presAssocID="{49225C73-1633-42F1-AB3B-7CB183E5F8B8}" presName="compNode" presStyleCnt="0"/>
      <dgm:spPr/>
    </dgm:pt>
    <dgm:pt modelId="{BCD8CDD9-0C56-4401-ADB1-8B48DAB2C96F}" type="pres">
      <dgm:prSet presAssocID="{49225C73-1633-42F1-AB3B-7CB183E5F8B8}" presName="iconBgRect" presStyleLbl="bgShp" presStyleIdx="1" presStyleCnt="2"/>
      <dgm:spPr/>
    </dgm:pt>
    <dgm:pt modelId="{DB4CA7C4-FCA1-4127-B20A-2A5C031A3CF4}" type="pres">
      <dgm:prSet presAssocID="{49225C73-1633-42F1-AB3B-7CB183E5F8B8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9B0C8FBF-0BDD-48A5-967E-F3FE71659F6A}" type="pres">
      <dgm:prSet presAssocID="{49225C73-1633-42F1-AB3B-7CB183E5F8B8}" presName="spaceRect" presStyleCnt="0"/>
      <dgm:spPr/>
    </dgm:pt>
    <dgm:pt modelId="{7E6FE37A-5DB0-4899-9FCB-0CE39BC185F8}" type="pres">
      <dgm:prSet presAssocID="{49225C73-1633-42F1-AB3B-7CB183E5F8B8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A9154303-8225-4248-91DC-1B0156A35F07}" srcId="{01A66772-F185-4D58-B8BB-E9370D7A7A2B}" destId="{49225C73-1633-42F1-AB3B-7CB183E5F8B8}" srcOrd="1" destOrd="0" parTransId="{1A0E2090-1D4F-438A-8766-B6030CE01ADD}" sibTransId="{9646853A-8964-4519-A5B1-0B7D18B2983D}"/>
    <dgm:cxn modelId="{7A710F69-5154-4855-ACF5-BC7C1BF85A80}" type="presOf" srcId="{49225C73-1633-42F1-AB3B-7CB183E5F8B8}" destId="{7E6FE37A-5DB0-4899-9FCB-0CE39BC185F8}" srcOrd="0" destOrd="0" presId="urn:microsoft.com/office/officeart/2018/5/layout/IconCircleLabelList"/>
    <dgm:cxn modelId="{C7AD8469-3C68-4AF9-AB82-79B0043AA120}" srcId="{01A66772-F185-4D58-B8BB-E9370D7A7A2B}" destId="{40FC4FFE-8987-4A26-B7F4-8A516F18ADAE}" srcOrd="0" destOrd="0" parTransId="{CAD7EF86-FB23-41F6-BF42-040B36DEFDB1}" sibTransId="{5B62599A-5C9B-48E7-896E-EA782AC60C8B}"/>
    <dgm:cxn modelId="{676D3A6A-6EA7-4483-BB12-0BD4A7D7AF9D}" type="presOf" srcId="{01A66772-F185-4D58-B8BB-E9370D7A7A2B}" destId="{50B3CE7C-E10B-4E23-BD93-03664997C932}" srcOrd="0" destOrd="0" presId="urn:microsoft.com/office/officeart/2018/5/layout/IconCircleLabelList"/>
    <dgm:cxn modelId="{355227E3-55E0-4343-BC8D-FC0EB1694F48}" type="presOf" srcId="{40FC4FFE-8987-4A26-B7F4-8A516F18ADAE}" destId="{127117FB-F8A7-4A20-A8A7-EC686DDC76D0}" srcOrd="0" destOrd="0" presId="urn:microsoft.com/office/officeart/2018/5/layout/IconCircleLabelList"/>
    <dgm:cxn modelId="{555498CB-3ED1-404E-A25F-EB243EFC5FB1}" type="presParOf" srcId="{50B3CE7C-E10B-4E23-BD93-03664997C932}" destId="{DE9CE479-E4AE-4283-AEF1-10C1535B4324}" srcOrd="0" destOrd="0" presId="urn:microsoft.com/office/officeart/2018/5/layout/IconCircleLabelList"/>
    <dgm:cxn modelId="{11F12D49-CD08-4D50-BD13-3ECBC3A476A4}" type="presParOf" srcId="{DE9CE479-E4AE-4283-AEF1-10C1535B4324}" destId="{B59FCF02-CAD2-4D6F-9542-AD86711168CA}" srcOrd="0" destOrd="0" presId="urn:microsoft.com/office/officeart/2018/5/layout/IconCircleLabelList"/>
    <dgm:cxn modelId="{F443A659-540B-487B-97F9-49219CF60D6B}" type="presParOf" srcId="{DE9CE479-E4AE-4283-AEF1-10C1535B4324}" destId="{7C175B98-93F4-4D7C-BB95-1514AB879CD5}" srcOrd="1" destOrd="0" presId="urn:microsoft.com/office/officeart/2018/5/layout/IconCircleLabelList"/>
    <dgm:cxn modelId="{A503D7AB-7D64-4163-93B5-1CEEDAE81823}" type="presParOf" srcId="{DE9CE479-E4AE-4283-AEF1-10C1535B4324}" destId="{677A3090-5F01-43FD-9FA6-C0420AD80FD6}" srcOrd="2" destOrd="0" presId="urn:microsoft.com/office/officeart/2018/5/layout/IconCircleLabelList"/>
    <dgm:cxn modelId="{780188ED-7DCE-45BB-B6AF-91BE48969612}" type="presParOf" srcId="{DE9CE479-E4AE-4283-AEF1-10C1535B4324}" destId="{127117FB-F8A7-4A20-A8A7-EC686DDC76D0}" srcOrd="3" destOrd="0" presId="urn:microsoft.com/office/officeart/2018/5/layout/IconCircleLabelList"/>
    <dgm:cxn modelId="{155719F8-A89B-4E96-BC49-C48BC717F480}" type="presParOf" srcId="{50B3CE7C-E10B-4E23-BD93-03664997C932}" destId="{FD1EED9C-83D3-41AD-A09B-D3B36354168F}" srcOrd="1" destOrd="0" presId="urn:microsoft.com/office/officeart/2018/5/layout/IconCircleLabelList"/>
    <dgm:cxn modelId="{2772E199-56B0-4310-A55E-67D00CA3E59E}" type="presParOf" srcId="{50B3CE7C-E10B-4E23-BD93-03664997C932}" destId="{C998AB0A-577D-44AA-A068-F634DDE7BD47}" srcOrd="2" destOrd="0" presId="urn:microsoft.com/office/officeart/2018/5/layout/IconCircleLabelList"/>
    <dgm:cxn modelId="{4E351D18-D97F-4B92-A608-2E9600B91C28}" type="presParOf" srcId="{C998AB0A-577D-44AA-A068-F634DDE7BD47}" destId="{BCD8CDD9-0C56-4401-ADB1-8B48DAB2C96F}" srcOrd="0" destOrd="0" presId="urn:microsoft.com/office/officeart/2018/5/layout/IconCircleLabelList"/>
    <dgm:cxn modelId="{B3DC724C-4569-4E9D-BD5A-49E4CD991FD0}" type="presParOf" srcId="{C998AB0A-577D-44AA-A068-F634DDE7BD47}" destId="{DB4CA7C4-FCA1-4127-B20A-2A5C031A3CF4}" srcOrd="1" destOrd="0" presId="urn:microsoft.com/office/officeart/2018/5/layout/IconCircleLabelList"/>
    <dgm:cxn modelId="{AD1AB552-CCE0-4911-BB9E-5D4A60B21F4F}" type="presParOf" srcId="{C998AB0A-577D-44AA-A068-F634DDE7BD47}" destId="{9B0C8FBF-0BDD-48A5-967E-F3FE71659F6A}" srcOrd="2" destOrd="0" presId="urn:microsoft.com/office/officeart/2018/5/layout/IconCircleLabelList"/>
    <dgm:cxn modelId="{8558F796-2D01-40FE-A21A-7530EEBC3BC3}" type="presParOf" srcId="{C998AB0A-577D-44AA-A068-F634DDE7BD47}" destId="{7E6FE37A-5DB0-4899-9FCB-0CE39BC185F8}" srcOrd="3" destOrd="0" presId="urn:microsoft.com/office/officeart/2018/5/layout/IconCircleLabelList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BF4AF3-FAB8-444C-81AB-52C89640E279}">
      <dsp:nvSpPr>
        <dsp:cNvPr id="0" name=""/>
        <dsp:cNvSpPr/>
      </dsp:nvSpPr>
      <dsp:spPr>
        <a:xfrm>
          <a:off x="0" y="-141453"/>
          <a:ext cx="11277600" cy="3270274"/>
        </a:xfrm>
        <a:prstGeom prst="roundRect">
          <a:avLst>
            <a:gd name="adj" fmla="val 10000"/>
          </a:avLst>
        </a:prstGeom>
        <a:solidFill>
          <a:schemeClr val="bg1">
            <a:lumMod val="65000"/>
            <a:alpha val="90000"/>
          </a:schemeClr>
        </a:solidFill>
        <a:ln w="63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3EB61A-2E04-409F-8F87-79F190ED3CE0}">
      <dsp:nvSpPr>
        <dsp:cNvPr id="0" name=""/>
        <dsp:cNvSpPr/>
      </dsp:nvSpPr>
      <dsp:spPr>
        <a:xfrm>
          <a:off x="341433" y="994248"/>
          <a:ext cx="2463891" cy="1573540"/>
        </a:xfrm>
        <a:prstGeom prst="roundRect">
          <a:avLst>
            <a:gd name="adj" fmla="val 10000"/>
          </a:avLst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572025E-E8B8-4F94-94D0-DC22D7F762FB}">
      <dsp:nvSpPr>
        <dsp:cNvPr id="0" name=""/>
        <dsp:cNvSpPr/>
      </dsp:nvSpPr>
      <dsp:spPr>
        <a:xfrm rot="10800000">
          <a:off x="341433" y="3428557"/>
          <a:ext cx="2463891" cy="1473227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3152" tIns="274320" rIns="73152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>
              <a:latin typeface="Corbel" pitchFamily="34" charset="0"/>
            </a:rPr>
            <a:t>Identifikasi</a:t>
          </a:r>
          <a:r>
            <a:rPr lang="en-US" sz="2000" b="1" kern="1200" dirty="0">
              <a:latin typeface="Corbel" pitchFamily="34" charset="0"/>
            </a:rPr>
            <a:t>/ </a:t>
          </a:r>
          <a:r>
            <a:rPr lang="en-US" sz="2000" b="1" kern="1200" dirty="0" err="1">
              <a:latin typeface="Corbel" pitchFamily="34" charset="0"/>
            </a:rPr>
            <a:t>koordinasi</a:t>
          </a:r>
          <a:r>
            <a:rPr lang="en-US" sz="2000" b="1" kern="1200" dirty="0">
              <a:latin typeface="Corbel" pitchFamily="34" charset="0"/>
            </a:rPr>
            <a:t>/ </a:t>
          </a:r>
          <a:r>
            <a:rPr lang="en-US" sz="2000" b="1" kern="1200" dirty="0" err="1">
              <a:latin typeface="Corbel" pitchFamily="34" charset="0"/>
            </a:rPr>
            <a:t>sosialisasi</a:t>
          </a:r>
          <a:endParaRPr lang="en-US" sz="2000" b="1" kern="1200" dirty="0">
            <a:latin typeface="Corbel" pitchFamily="34" charset="0"/>
          </a:endParaRPr>
        </a:p>
      </dsp:txBody>
      <dsp:txXfrm rot="10800000">
        <a:off x="386740" y="3428557"/>
        <a:ext cx="2373277" cy="1427920"/>
      </dsp:txXfrm>
    </dsp:sp>
    <dsp:sp modelId="{BF646D7A-C7D0-4489-A68F-61F32B7DB0C6}">
      <dsp:nvSpPr>
        <dsp:cNvPr id="0" name=""/>
        <dsp:cNvSpPr/>
      </dsp:nvSpPr>
      <dsp:spPr>
        <a:xfrm>
          <a:off x="3051714" y="1010803"/>
          <a:ext cx="2463891" cy="1573540"/>
        </a:xfrm>
        <a:prstGeom prst="roundRect">
          <a:avLst>
            <a:gd name="adj" fmla="val 10000"/>
          </a:avLst>
        </a:prstGeom>
        <a:solidFill>
          <a:schemeClr val="accent2">
            <a:tint val="50000"/>
            <a:hueOff val="-293554"/>
            <a:satOff val="-25390"/>
            <a:lumOff val="-25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4B0666F-2CF1-4C21-A251-46E6EBFF7C1D}">
      <dsp:nvSpPr>
        <dsp:cNvPr id="0" name=""/>
        <dsp:cNvSpPr/>
      </dsp:nvSpPr>
      <dsp:spPr>
        <a:xfrm rot="10800000">
          <a:off x="3051714" y="3478222"/>
          <a:ext cx="2463891" cy="1407007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chemeClr val="accent2">
                <a:hueOff val="-485121"/>
                <a:satOff val="-27976"/>
                <a:lumOff val="287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485121"/>
                <a:satOff val="-27976"/>
                <a:lumOff val="287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485121"/>
                <a:satOff val="-27976"/>
                <a:lumOff val="287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3152" tIns="274320" rIns="73152" bIns="14224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>
              <a:solidFill>
                <a:schemeClr val="tx1"/>
              </a:solidFill>
              <a:latin typeface="Corbel" pitchFamily="34" charset="0"/>
            </a:rPr>
            <a:t>Penyusunan</a:t>
          </a:r>
          <a:r>
            <a:rPr lang="en-US" sz="2000" b="1" kern="1200" dirty="0">
              <a:solidFill>
                <a:schemeClr val="tx1"/>
              </a:solidFill>
              <a:latin typeface="Corbel" pitchFamily="34" charset="0"/>
            </a:rPr>
            <a:t> </a:t>
          </a:r>
          <a:r>
            <a:rPr lang="en-US" sz="2000" b="1" kern="1200" dirty="0" err="1">
              <a:solidFill>
                <a:schemeClr val="tx1"/>
              </a:solidFill>
              <a:latin typeface="Corbel" pitchFamily="34" charset="0"/>
            </a:rPr>
            <a:t>Dokumen</a:t>
          </a:r>
          <a:r>
            <a:rPr lang="en-US" sz="2000" b="1" kern="1200" dirty="0">
              <a:solidFill>
                <a:schemeClr val="tx1"/>
              </a:solidFill>
              <a:latin typeface="Corbel" pitchFamily="34" charset="0"/>
            </a:rPr>
            <a:t> System </a:t>
          </a:r>
          <a:r>
            <a:rPr lang="en-US" sz="2000" b="1" kern="1200" dirty="0" err="1">
              <a:solidFill>
                <a:schemeClr val="tx1"/>
              </a:solidFill>
              <a:latin typeface="Corbel" pitchFamily="34" charset="0"/>
            </a:rPr>
            <a:t>Mutu</a:t>
          </a:r>
          <a:r>
            <a:rPr lang="en-US" sz="2000" b="1" kern="1200" dirty="0">
              <a:solidFill>
                <a:schemeClr val="tx1"/>
              </a:solidFill>
              <a:latin typeface="Corbel" pitchFamily="34" charset="0"/>
            </a:rPr>
            <a:t> (DOKSISTU)</a:t>
          </a:r>
        </a:p>
      </dsp:txBody>
      <dsp:txXfrm rot="10800000">
        <a:off x="3094984" y="3478222"/>
        <a:ext cx="2377351" cy="1363737"/>
      </dsp:txXfrm>
    </dsp:sp>
    <dsp:sp modelId="{41BC1ABA-1F87-4B1E-94EC-41724CD12655}">
      <dsp:nvSpPr>
        <dsp:cNvPr id="0" name=""/>
        <dsp:cNvSpPr/>
      </dsp:nvSpPr>
      <dsp:spPr>
        <a:xfrm>
          <a:off x="5876035" y="1125845"/>
          <a:ext cx="2235808" cy="1310648"/>
        </a:xfrm>
        <a:prstGeom prst="roundRect">
          <a:avLst>
            <a:gd name="adj" fmla="val 10000"/>
          </a:avLst>
        </a:prstGeom>
        <a:solidFill>
          <a:schemeClr val="accent2">
            <a:tint val="50000"/>
            <a:hueOff val="-587108"/>
            <a:satOff val="-50780"/>
            <a:lumOff val="-50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5284ED54-4761-44DA-8086-D5FD397A1C95}">
      <dsp:nvSpPr>
        <dsp:cNvPr id="0" name=""/>
        <dsp:cNvSpPr/>
      </dsp:nvSpPr>
      <dsp:spPr>
        <a:xfrm rot="10800000">
          <a:off x="5761994" y="3429009"/>
          <a:ext cx="2463891" cy="1472623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chemeClr val="accent2">
                <a:hueOff val="-970242"/>
                <a:satOff val="-55952"/>
                <a:lumOff val="575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970242"/>
                <a:satOff val="-55952"/>
                <a:lumOff val="575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970242"/>
                <a:satOff val="-55952"/>
                <a:lumOff val="575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3152" tIns="274320" rIns="73152" bIns="14224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>
              <a:solidFill>
                <a:schemeClr val="tx1"/>
              </a:solidFill>
              <a:latin typeface="Corbel" pitchFamily="34" charset="0"/>
            </a:rPr>
            <a:t>Fasilitasi</a:t>
          </a:r>
          <a:r>
            <a:rPr lang="en-US" sz="2000" b="1" kern="1200" dirty="0">
              <a:solidFill>
                <a:schemeClr val="tx1"/>
              </a:solidFill>
              <a:latin typeface="Corbel" pitchFamily="34" charset="0"/>
            </a:rPr>
            <a:t> </a:t>
          </a:r>
          <a:r>
            <a:rPr lang="en-US" sz="2000" b="1" kern="1200" dirty="0" err="1">
              <a:solidFill>
                <a:schemeClr val="tx1"/>
              </a:solidFill>
              <a:latin typeface="Corbel" pitchFamily="34" charset="0"/>
            </a:rPr>
            <a:t>Jaminan</a:t>
          </a:r>
          <a:r>
            <a:rPr lang="en-US" sz="2000" b="1" kern="1200" dirty="0">
              <a:solidFill>
                <a:schemeClr val="tx1"/>
              </a:solidFill>
              <a:latin typeface="Corbel" pitchFamily="34" charset="0"/>
            </a:rPr>
            <a:t> </a:t>
          </a:r>
          <a:r>
            <a:rPr lang="en-US" sz="2000" b="1" kern="1200" dirty="0" err="1">
              <a:solidFill>
                <a:schemeClr val="tx1"/>
              </a:solidFill>
              <a:latin typeface="Corbel" pitchFamily="34" charset="0"/>
            </a:rPr>
            <a:t>Mutu</a:t>
          </a:r>
          <a:r>
            <a:rPr lang="en-US" sz="2000" b="1" kern="1200" dirty="0">
              <a:solidFill>
                <a:schemeClr val="tx1"/>
              </a:solidFill>
              <a:latin typeface="Corbel" pitchFamily="34" charset="0"/>
            </a:rPr>
            <a:t> (</a:t>
          </a:r>
          <a:r>
            <a:rPr lang="en-US" sz="2000" b="1" kern="1200" dirty="0" err="1">
              <a:solidFill>
                <a:schemeClr val="tx1"/>
              </a:solidFill>
              <a:latin typeface="Corbel" pitchFamily="34" charset="0"/>
            </a:rPr>
            <a:t>sertifikasi</a:t>
          </a:r>
          <a:r>
            <a:rPr lang="en-US" sz="2000" b="1" kern="1200" dirty="0">
              <a:solidFill>
                <a:schemeClr val="tx1"/>
              </a:solidFill>
              <a:latin typeface="Corbel" pitchFamily="34" charset="0"/>
            </a:rPr>
            <a:t>)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tx1"/>
              </a:solidFill>
              <a:latin typeface="Corbel" pitchFamily="34" charset="0"/>
            </a:rPr>
            <a:t>ORGANIK/ PRIMA </a:t>
          </a:r>
        </a:p>
      </dsp:txBody>
      <dsp:txXfrm rot="10800000">
        <a:off x="5807282" y="3429009"/>
        <a:ext cx="2373315" cy="1427335"/>
      </dsp:txXfrm>
    </dsp:sp>
    <dsp:sp modelId="{D88C7409-AB93-4FE3-A61D-F51EE8A4B008}">
      <dsp:nvSpPr>
        <dsp:cNvPr id="0" name=""/>
        <dsp:cNvSpPr/>
      </dsp:nvSpPr>
      <dsp:spPr>
        <a:xfrm>
          <a:off x="8472274" y="986276"/>
          <a:ext cx="2463891" cy="1573540"/>
        </a:xfrm>
        <a:prstGeom prst="roundRect">
          <a:avLst>
            <a:gd name="adj" fmla="val 10000"/>
          </a:avLst>
        </a:prstGeom>
        <a:solidFill>
          <a:schemeClr val="accent2">
            <a:tint val="50000"/>
            <a:hueOff val="-880662"/>
            <a:satOff val="-76170"/>
            <a:lumOff val="-76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87B5BDBA-3C7A-41F1-8C33-F13937A84B36}">
      <dsp:nvSpPr>
        <dsp:cNvPr id="0" name=""/>
        <dsp:cNvSpPr/>
      </dsp:nvSpPr>
      <dsp:spPr>
        <a:xfrm rot="10800000">
          <a:off x="8472274" y="3404639"/>
          <a:ext cx="2463891" cy="1505117"/>
        </a:xfrm>
        <a:prstGeom prst="round2SameRect">
          <a:avLst>
            <a:gd name="adj1" fmla="val 10500"/>
            <a:gd name="adj2" fmla="val 0"/>
          </a:avLst>
        </a:prstGeom>
        <a:solidFill>
          <a:schemeClr val="accent4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3152" tIns="274320" rIns="73152" bIns="14224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>
              <a:solidFill>
                <a:schemeClr val="tx1"/>
              </a:solidFill>
              <a:latin typeface="Corbel" pitchFamily="34" charset="0"/>
            </a:rPr>
            <a:t>Monev</a:t>
          </a:r>
          <a:r>
            <a:rPr lang="en-US" sz="2000" b="1" kern="1200" dirty="0">
              <a:solidFill>
                <a:schemeClr val="tx1"/>
              </a:solidFill>
              <a:latin typeface="Corbel" pitchFamily="34" charset="0"/>
            </a:rPr>
            <a:t> </a:t>
          </a:r>
          <a:r>
            <a:rPr lang="en-US" sz="2000" b="1" kern="1200" dirty="0" err="1">
              <a:solidFill>
                <a:schemeClr val="tx1"/>
              </a:solidFill>
              <a:latin typeface="Corbel" pitchFamily="34" charset="0"/>
            </a:rPr>
            <a:t>dan</a:t>
          </a:r>
          <a:r>
            <a:rPr lang="en-US" sz="2000" b="1" kern="1200" dirty="0">
              <a:solidFill>
                <a:schemeClr val="tx1"/>
              </a:solidFill>
              <a:latin typeface="Corbel" pitchFamily="34" charset="0"/>
            </a:rPr>
            <a:t> </a:t>
          </a:r>
          <a:r>
            <a:rPr lang="en-US" sz="2000" b="1" kern="1200" dirty="0" err="1">
              <a:solidFill>
                <a:schemeClr val="tx1"/>
              </a:solidFill>
              <a:latin typeface="Corbel" pitchFamily="34" charset="0"/>
            </a:rPr>
            <a:t>pelaporan</a:t>
          </a:r>
          <a:endParaRPr lang="en-US" sz="2000" b="1" kern="1200" dirty="0">
            <a:solidFill>
              <a:schemeClr val="tx1"/>
            </a:solidFill>
            <a:latin typeface="Corbel" pitchFamily="34" charset="0"/>
          </a:endParaRPr>
        </a:p>
      </dsp:txBody>
      <dsp:txXfrm rot="10800000">
        <a:off x="8518562" y="3404639"/>
        <a:ext cx="2371315" cy="145882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9FCF02-CAD2-4D6F-9542-AD86711168CA}">
      <dsp:nvSpPr>
        <dsp:cNvPr id="0" name=""/>
        <dsp:cNvSpPr/>
      </dsp:nvSpPr>
      <dsp:spPr>
        <a:xfrm>
          <a:off x="616949" y="310305"/>
          <a:ext cx="1818562" cy="181856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175B98-93F4-4D7C-BB95-1514AB879CD5}">
      <dsp:nvSpPr>
        <dsp:cNvPr id="0" name=""/>
        <dsp:cNvSpPr/>
      </dsp:nvSpPr>
      <dsp:spPr>
        <a:xfrm>
          <a:off x="1004512" y="697868"/>
          <a:ext cx="1043437" cy="104343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7117FB-F8A7-4A20-A8A7-EC686DDC76D0}">
      <dsp:nvSpPr>
        <dsp:cNvPr id="0" name=""/>
        <dsp:cNvSpPr/>
      </dsp:nvSpPr>
      <dsp:spPr>
        <a:xfrm>
          <a:off x="35606" y="2695306"/>
          <a:ext cx="2981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778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4000" kern="1200" dirty="0"/>
            <a:t>BUDIDAYA </a:t>
          </a:r>
        </a:p>
      </dsp:txBody>
      <dsp:txXfrm>
        <a:off x="35606" y="2695306"/>
        <a:ext cx="2981250" cy="720000"/>
      </dsp:txXfrm>
    </dsp:sp>
    <dsp:sp modelId="{BCD8CDD9-0C56-4401-ADB1-8B48DAB2C96F}">
      <dsp:nvSpPr>
        <dsp:cNvPr id="0" name=""/>
        <dsp:cNvSpPr/>
      </dsp:nvSpPr>
      <dsp:spPr>
        <a:xfrm>
          <a:off x="4119918" y="310305"/>
          <a:ext cx="1818562" cy="181856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4CA7C4-FCA1-4127-B20A-2A5C031A3CF4}">
      <dsp:nvSpPr>
        <dsp:cNvPr id="0" name=""/>
        <dsp:cNvSpPr/>
      </dsp:nvSpPr>
      <dsp:spPr>
        <a:xfrm>
          <a:off x="4507481" y="697868"/>
          <a:ext cx="1043437" cy="104343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6FE37A-5DB0-4899-9FCB-0CE39BC185F8}">
      <dsp:nvSpPr>
        <dsp:cNvPr id="0" name=""/>
        <dsp:cNvSpPr/>
      </dsp:nvSpPr>
      <dsp:spPr>
        <a:xfrm>
          <a:off x="3538574" y="2695306"/>
          <a:ext cx="2981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778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4000" kern="1200" dirty="0"/>
            <a:t>PANEN</a:t>
          </a:r>
        </a:p>
      </dsp:txBody>
      <dsp:txXfrm>
        <a:off x="3538574" y="2695306"/>
        <a:ext cx="2981250" cy="720000"/>
      </dsp:txXfrm>
    </dsp:sp>
    <dsp:sp modelId="{FF93E135-77D6-48A0-8871-9BC93D705D06}">
      <dsp:nvSpPr>
        <dsp:cNvPr id="0" name=""/>
        <dsp:cNvSpPr/>
      </dsp:nvSpPr>
      <dsp:spPr>
        <a:xfrm>
          <a:off x="7622887" y="310305"/>
          <a:ext cx="1818562" cy="1818562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509775-983E-4110-B989-EE2CD6514BE0}">
      <dsp:nvSpPr>
        <dsp:cNvPr id="0" name=""/>
        <dsp:cNvSpPr/>
      </dsp:nvSpPr>
      <dsp:spPr>
        <a:xfrm>
          <a:off x="8010450" y="697868"/>
          <a:ext cx="1043437" cy="104343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EDC777-00B3-41D7-9AE1-23D741E941C3}">
      <dsp:nvSpPr>
        <dsp:cNvPr id="0" name=""/>
        <dsp:cNvSpPr/>
      </dsp:nvSpPr>
      <dsp:spPr>
        <a:xfrm>
          <a:off x="7041543" y="2695306"/>
          <a:ext cx="2981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778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4000" kern="1200" dirty="0"/>
            <a:t>PASCAPANEN</a:t>
          </a:r>
        </a:p>
      </dsp:txBody>
      <dsp:txXfrm>
        <a:off x="7041543" y="2695306"/>
        <a:ext cx="2981250" cy="720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9FCF02-CAD2-4D6F-9542-AD86711168CA}">
      <dsp:nvSpPr>
        <dsp:cNvPr id="0" name=""/>
        <dsp:cNvSpPr/>
      </dsp:nvSpPr>
      <dsp:spPr>
        <a:xfrm>
          <a:off x="1816199" y="62805"/>
          <a:ext cx="2196000" cy="2196000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175B98-93F4-4D7C-BB95-1514AB879CD5}">
      <dsp:nvSpPr>
        <dsp:cNvPr id="0" name=""/>
        <dsp:cNvSpPr/>
      </dsp:nvSpPr>
      <dsp:spPr>
        <a:xfrm>
          <a:off x="2284199" y="530805"/>
          <a:ext cx="1260000" cy="1260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7117FB-F8A7-4A20-A8A7-EC686DDC76D0}">
      <dsp:nvSpPr>
        <dsp:cNvPr id="0" name=""/>
        <dsp:cNvSpPr/>
      </dsp:nvSpPr>
      <dsp:spPr>
        <a:xfrm>
          <a:off x="1114199" y="2942806"/>
          <a:ext cx="36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700" kern="1200" dirty="0" err="1"/>
            <a:t>Permentan</a:t>
          </a:r>
          <a:r>
            <a:rPr lang="en-US" sz="1700" kern="1200" dirty="0"/>
            <a:t> gap </a:t>
          </a:r>
        </a:p>
      </dsp:txBody>
      <dsp:txXfrm>
        <a:off x="1114199" y="2942806"/>
        <a:ext cx="3600000" cy="720000"/>
      </dsp:txXfrm>
    </dsp:sp>
    <dsp:sp modelId="{BCD8CDD9-0C56-4401-ADB1-8B48DAB2C96F}">
      <dsp:nvSpPr>
        <dsp:cNvPr id="0" name=""/>
        <dsp:cNvSpPr/>
      </dsp:nvSpPr>
      <dsp:spPr>
        <a:xfrm>
          <a:off x="6046199" y="62805"/>
          <a:ext cx="2196000" cy="2196000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4CA7C4-FCA1-4127-B20A-2A5C031A3CF4}">
      <dsp:nvSpPr>
        <dsp:cNvPr id="0" name=""/>
        <dsp:cNvSpPr/>
      </dsp:nvSpPr>
      <dsp:spPr>
        <a:xfrm>
          <a:off x="6514199" y="530805"/>
          <a:ext cx="1260000" cy="1260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6FE37A-5DB0-4899-9FCB-0CE39BC185F8}">
      <dsp:nvSpPr>
        <dsp:cNvPr id="0" name=""/>
        <dsp:cNvSpPr/>
      </dsp:nvSpPr>
      <dsp:spPr>
        <a:xfrm>
          <a:off x="5344199" y="2942806"/>
          <a:ext cx="36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700" kern="1200" dirty="0"/>
            <a:t>Check list </a:t>
          </a:r>
          <a:r>
            <a:rPr lang="en-US" sz="1700" kern="1200" dirty="0" err="1"/>
            <a:t>indo</a:t>
          </a:r>
          <a:r>
            <a:rPr lang="en-US" sz="1700" kern="1200" dirty="0"/>
            <a:t> gap </a:t>
          </a:r>
          <a:r>
            <a:rPr lang="en-US" sz="1700" kern="1200" dirty="0" err="1"/>
            <a:t>harmonisasi</a:t>
          </a:r>
          <a:r>
            <a:rPr lang="en-US" sz="1700" kern="1200" dirty="0"/>
            <a:t> </a:t>
          </a:r>
          <a:r>
            <a:rPr lang="en-US" sz="1700" kern="1200" dirty="0" err="1"/>
            <a:t>dengan</a:t>
          </a:r>
          <a:r>
            <a:rPr lang="en-US" sz="1700" kern="1200" dirty="0"/>
            <a:t> </a:t>
          </a:r>
          <a:r>
            <a:rPr lang="en-US" sz="1700" kern="1200" dirty="0" err="1"/>
            <a:t>asean</a:t>
          </a:r>
          <a:r>
            <a:rPr lang="en-US" sz="1700" kern="1200" dirty="0"/>
            <a:t> gap</a:t>
          </a:r>
        </a:p>
      </dsp:txBody>
      <dsp:txXfrm>
        <a:off x="5344199" y="2942806"/>
        <a:ext cx="3600000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type="round2SameRect" r:blip="" rot="180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off" val="ctr"/>
          <dgm:param type="contDir" val="sameDir"/>
          <dgm:param type="grDir" val="tL"/>
          <dgm:param type="flowDir" val="row"/>
          <dgm:param type="horzAlign" val="ctr"/>
          <dgm:param type="vertAlign" val="mid"/>
        </dgm:alg>
      </dgm:if>
      <dgm:else name="Name2">
        <dgm:alg type="snake">
          <dgm:param type="off" val="ctr"/>
          <dgm:param type="contDir" val="sameDir"/>
          <dgm:param type="grDir" val="tR"/>
          <dgm:param type="flowDir" val="row"/>
          <dgm:param type="horzAlign" val="ctr"/>
          <dgm:param type="vertAlign" val="mid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off" val="ctr"/>
          <dgm:param type="contDir" val="sameDir"/>
          <dgm:param type="grDir" val="tL"/>
          <dgm:param type="flowDir" val="row"/>
          <dgm:param type="horzAlign" val="ctr"/>
          <dgm:param type="vertAlign" val="mid"/>
        </dgm:alg>
      </dgm:if>
      <dgm:else name="Name2">
        <dgm:alg type="snake">
          <dgm:param type="off" val="ctr"/>
          <dgm:param type="contDir" val="sameDir"/>
          <dgm:param type="grDir" val="tR"/>
          <dgm:param type="flowDir" val="row"/>
          <dgm:param type="horzAlign" val="ctr"/>
          <dgm:param type="vertAlign" val="mid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3F8978-43CF-4A58-B3B4-567990479513}" type="datetimeFigureOut">
              <a:rPr lang="en-ID" smtClean="0"/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B39F71-F9A3-424C-A503-B205A41F202D}" type="slidenum">
              <a:rPr lang="en-ID" smtClean="0"/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97A49A-49A0-4847-BD15-F9227EAA67C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Notes Placeholder 2"/>
          <p:cNvSpPr txBox="1"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/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d-ID" sz="600" b="1"/>
              <a:t>Animated picture list with color text tabs</a:t>
            </a:r>
            <a:endParaRPr lang="en-US" altLang="id-ID" sz="600" b="1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d-ID" sz="600"/>
              <a:t>(Intermediate)</a:t>
            </a:r>
            <a:endParaRPr lang="en-US" altLang="id-ID" sz="6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d-ID" sz="500"/>
              <a:t>To reproduce the SmartArt effects on this page, do the following:</a:t>
            </a:r>
            <a:endParaRPr lang="en-US" altLang="id-ID" sz="500"/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SzTx/>
              <a:buFontTx/>
              <a:buAutoNum type="arabicPeriod"/>
            </a:pPr>
            <a:r>
              <a:rPr lang="en-US" altLang="id-ID" sz="500"/>
              <a:t>On the </a:t>
            </a:r>
            <a:r>
              <a:rPr lang="en-US" altLang="id-ID" sz="500" b="1"/>
              <a:t>Home</a:t>
            </a:r>
            <a:r>
              <a:rPr lang="en-US" altLang="id-ID" sz="500"/>
              <a:t> tab, in the </a:t>
            </a:r>
            <a:r>
              <a:rPr lang="en-US" altLang="id-ID" sz="500" b="1"/>
              <a:t>Slides</a:t>
            </a:r>
            <a:r>
              <a:rPr lang="en-US" altLang="id-ID" sz="500"/>
              <a:t> group, click </a:t>
            </a:r>
            <a:r>
              <a:rPr lang="en-US" altLang="id-ID" sz="500" b="1"/>
              <a:t>Layout</a:t>
            </a:r>
            <a:r>
              <a:rPr lang="en-US" altLang="id-ID" sz="500"/>
              <a:t>, and then click </a:t>
            </a:r>
            <a:r>
              <a:rPr lang="en-US" altLang="id-ID" sz="500" b="1"/>
              <a:t>Blank</a:t>
            </a:r>
            <a:r>
              <a:rPr lang="en-US" altLang="id-ID" sz="500"/>
              <a:t>. </a:t>
            </a:r>
            <a:endParaRPr lang="en-US" altLang="id-ID" sz="500"/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SzTx/>
              <a:buFontTx/>
              <a:buAutoNum type="arabicPeriod"/>
            </a:pPr>
            <a:r>
              <a:rPr lang="en-US" altLang="id-ID" sz="500"/>
              <a:t>On the </a:t>
            </a:r>
            <a:r>
              <a:rPr lang="en-US" altLang="id-ID" sz="500" b="1"/>
              <a:t>Insert tab</a:t>
            </a:r>
            <a:r>
              <a:rPr lang="en-US" altLang="id-ID" sz="500"/>
              <a:t>, in the </a:t>
            </a:r>
            <a:r>
              <a:rPr lang="en-US" altLang="id-ID" sz="500" b="1"/>
              <a:t>Illustrations</a:t>
            </a:r>
            <a:r>
              <a:rPr lang="en-US" altLang="id-ID" sz="500"/>
              <a:t> group, click </a:t>
            </a:r>
            <a:r>
              <a:rPr lang="en-US" altLang="id-ID" sz="500" b="1"/>
              <a:t>SmartArt</a:t>
            </a:r>
            <a:r>
              <a:rPr lang="en-US" altLang="id-ID" sz="500"/>
              <a:t>.</a:t>
            </a: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In the </a:t>
            </a:r>
            <a:r>
              <a:rPr lang="en-US" altLang="id-ID" sz="500" b="1"/>
              <a:t>Choose a SmartArt Graphic </a:t>
            </a:r>
            <a:r>
              <a:rPr lang="en-US" altLang="id-ID" sz="500"/>
              <a:t>dialog box, in the left pane, click </a:t>
            </a:r>
            <a:r>
              <a:rPr lang="en-US" altLang="id-ID" sz="500" b="1"/>
              <a:t>List</a:t>
            </a:r>
            <a:r>
              <a:rPr lang="en-US" altLang="id-ID" sz="500"/>
              <a:t>. In the </a:t>
            </a:r>
            <a:r>
              <a:rPr lang="en-US" altLang="id-ID" sz="500" b="1"/>
              <a:t>List</a:t>
            </a:r>
            <a:r>
              <a:rPr lang="en-US" altLang="id-ID" sz="500"/>
              <a:t> pane, double-click </a:t>
            </a:r>
            <a:r>
              <a:rPr lang="en-US" altLang="id-ID" sz="500" b="1"/>
              <a:t>Horizontal Picture List </a:t>
            </a:r>
            <a:r>
              <a:rPr lang="en-US" altLang="id-ID" sz="500"/>
              <a:t>(fifth row, second option from the left) to insert the graphic into the slide. </a:t>
            </a: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Press and hold CTRL, and select the picture placeholder and text shape (top and bottom shape) in one of the objects. Under </a:t>
            </a:r>
            <a:r>
              <a:rPr lang="en-US" altLang="id-ID" sz="500" b="1"/>
              <a:t>SmartArt Tools</a:t>
            </a:r>
            <a:r>
              <a:rPr lang="en-US" altLang="id-ID" sz="500"/>
              <a:t>,</a:t>
            </a:r>
            <a:r>
              <a:rPr lang="en-US" altLang="id-ID" sz="500" b="1"/>
              <a:t> </a:t>
            </a:r>
            <a:r>
              <a:rPr lang="en-US" altLang="id-ID" sz="500"/>
              <a:t>on the </a:t>
            </a:r>
            <a:r>
              <a:rPr lang="en-US" altLang="id-ID" sz="500" b="1"/>
              <a:t>Design</a:t>
            </a:r>
            <a:r>
              <a:rPr lang="en-US" altLang="id-ID" sz="500"/>
              <a:t> tab, in the </a:t>
            </a:r>
            <a:r>
              <a:rPr lang="en-US" altLang="id-ID" sz="500" b="1"/>
              <a:t>Create Graphic </a:t>
            </a:r>
            <a:r>
              <a:rPr lang="en-US" altLang="id-ID" sz="500"/>
              <a:t>group, click </a:t>
            </a:r>
            <a:r>
              <a:rPr lang="en-US" altLang="id-ID" sz="500" b="1"/>
              <a:t>Add Shape</a:t>
            </a:r>
            <a:r>
              <a:rPr lang="en-US" altLang="id-ID" sz="500"/>
              <a:t>, and then click </a:t>
            </a:r>
            <a:r>
              <a:rPr lang="en-US" altLang="id-ID" sz="500" b="1"/>
              <a:t>Add Shape After</a:t>
            </a:r>
            <a:r>
              <a:rPr lang="en-US" altLang="id-ID" sz="500"/>
              <a:t>. Repeat this process one more time for a total of five picture placeholders and text shapes. </a:t>
            </a:r>
            <a:endParaRPr lang="en-US" altLang="id-ID" sz="500"/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SzTx/>
              <a:buFontTx/>
              <a:buAutoNum type="arabicPeriod"/>
            </a:pPr>
            <a:r>
              <a:rPr lang="en-US" altLang="id-ID" sz="500"/>
              <a:t>Select the graphic. Under </a:t>
            </a:r>
            <a:r>
              <a:rPr lang="en-US" altLang="id-ID" sz="500" b="1"/>
              <a:t>SmartArt Tools</a:t>
            </a:r>
            <a:r>
              <a:rPr lang="en-US" altLang="id-ID" sz="500"/>
              <a:t>, on the </a:t>
            </a:r>
            <a:r>
              <a:rPr lang="en-US" altLang="id-ID" sz="500" b="1"/>
              <a:t>Format</a:t>
            </a:r>
            <a:r>
              <a:rPr lang="en-US" altLang="id-ID" sz="500"/>
              <a:t> tab, click </a:t>
            </a:r>
            <a:r>
              <a:rPr lang="en-US" altLang="id-ID" sz="500" b="1"/>
              <a:t>Size</a:t>
            </a:r>
            <a:r>
              <a:rPr lang="en-US" altLang="id-ID" sz="500"/>
              <a:t>, and then do the following:</a:t>
            </a:r>
            <a:endParaRPr lang="en-US" altLang="id-ID" sz="500"/>
          </a:p>
          <a:p>
            <a:pPr marL="682625" lvl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In the </a:t>
            </a:r>
            <a:r>
              <a:rPr lang="en-US" altLang="id-ID" sz="500" b="1"/>
              <a:t>Height</a:t>
            </a:r>
            <a:r>
              <a:rPr lang="en-US" altLang="id-ID" sz="500"/>
              <a:t> box, enter </a:t>
            </a:r>
            <a:r>
              <a:rPr lang="en-US" altLang="id-ID" sz="500" b="1"/>
              <a:t>4.44”</a:t>
            </a:r>
            <a:r>
              <a:rPr lang="en-US" altLang="id-ID" sz="500"/>
              <a:t>.</a:t>
            </a:r>
            <a:endParaRPr lang="en-US" altLang="id-ID" sz="500"/>
          </a:p>
          <a:p>
            <a:pPr marL="682625" lvl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In the </a:t>
            </a:r>
            <a:r>
              <a:rPr lang="en-US" altLang="id-ID" sz="500" b="1"/>
              <a:t>Width</a:t>
            </a:r>
            <a:r>
              <a:rPr lang="en-US" altLang="id-ID" sz="500"/>
              <a:t> box, enter </a:t>
            </a:r>
            <a:r>
              <a:rPr lang="en-US" altLang="id-ID" sz="500" b="1"/>
              <a:t>9.25”</a:t>
            </a:r>
            <a:r>
              <a:rPr lang="en-US" altLang="id-ID" sz="500"/>
              <a:t>.</a:t>
            </a:r>
            <a:endParaRPr lang="en-US" altLang="id-ID" sz="500"/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SzTx/>
              <a:buFontTx/>
              <a:buAutoNum type="arabicPeriod"/>
            </a:pPr>
            <a:r>
              <a:rPr lang="en-US" altLang="id-ID" sz="500"/>
              <a:t>Under </a:t>
            </a:r>
            <a:r>
              <a:rPr lang="en-US" altLang="id-ID" sz="500" b="1"/>
              <a:t>SmartArt Tools</a:t>
            </a:r>
            <a:r>
              <a:rPr lang="en-US" altLang="id-ID" sz="500"/>
              <a:t>, on the </a:t>
            </a:r>
            <a:r>
              <a:rPr lang="en-US" altLang="id-ID" sz="500" b="1"/>
              <a:t>Format</a:t>
            </a:r>
            <a:r>
              <a:rPr lang="en-US" altLang="id-ID" sz="500"/>
              <a:t> tab, click </a:t>
            </a:r>
            <a:r>
              <a:rPr lang="en-US" altLang="id-ID" sz="500" b="1"/>
              <a:t>Arrange</a:t>
            </a:r>
            <a:r>
              <a:rPr lang="en-US" altLang="id-ID" sz="500"/>
              <a:t>, click </a:t>
            </a:r>
            <a:r>
              <a:rPr lang="en-US" altLang="id-ID" sz="500" b="1"/>
              <a:t>Align</a:t>
            </a:r>
            <a:r>
              <a:rPr lang="en-US" altLang="id-ID" sz="500"/>
              <a:t>, and then do the following:</a:t>
            </a:r>
            <a:endParaRPr lang="en-US" altLang="id-ID" sz="500"/>
          </a:p>
          <a:p>
            <a:pPr marL="682625" lvl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Click </a:t>
            </a:r>
            <a:r>
              <a:rPr lang="en-US" altLang="id-ID" sz="500" b="1"/>
              <a:t>Align to Slide</a:t>
            </a:r>
            <a:r>
              <a:rPr lang="en-US" altLang="id-ID" sz="500"/>
              <a:t>.</a:t>
            </a:r>
            <a:endParaRPr lang="en-US" altLang="id-ID" sz="500"/>
          </a:p>
          <a:p>
            <a:pPr marL="682625" lvl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Click </a:t>
            </a:r>
            <a:r>
              <a:rPr lang="en-US" altLang="id-ID" sz="500" b="1"/>
              <a:t>Align Middle</a:t>
            </a:r>
            <a:r>
              <a:rPr lang="en-US" altLang="id-ID" sz="500"/>
              <a:t>. </a:t>
            </a:r>
            <a:endParaRPr lang="en-US" altLang="id-ID" sz="500"/>
          </a:p>
          <a:p>
            <a:pPr marL="682625" lvl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Click </a:t>
            </a:r>
            <a:r>
              <a:rPr lang="en-US" altLang="id-ID" sz="500" b="1"/>
              <a:t>Align Center</a:t>
            </a:r>
            <a:r>
              <a:rPr lang="en-US" altLang="id-ID" sz="500"/>
              <a:t>. </a:t>
            </a:r>
            <a:endParaRPr lang="en-US" altLang="id-ID" sz="500"/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SzTx/>
              <a:buFontTx/>
              <a:buAutoNum type="arabicPeriod" startAt="7"/>
            </a:pPr>
            <a:r>
              <a:rPr lang="en-US" altLang="id-ID" sz="500"/>
              <a:t>Select the graphic, and then click one of the arrows on the left border. In the </a:t>
            </a:r>
            <a:r>
              <a:rPr lang="en-US" altLang="id-ID" sz="500" b="1"/>
              <a:t>Type your text here </a:t>
            </a:r>
            <a:r>
              <a:rPr lang="en-US" altLang="id-ID" sz="500"/>
              <a:t>dialog box, enter text.</a:t>
            </a: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 startAt="7"/>
            </a:pPr>
            <a:r>
              <a:rPr lang="en-US" altLang="id-ID" sz="500"/>
              <a:t>Press and hold CTRL, and then select all five text boxes in the graphic. On the </a:t>
            </a:r>
            <a:r>
              <a:rPr lang="en-US" altLang="id-ID" sz="500" b="1"/>
              <a:t>Home</a:t>
            </a:r>
            <a:r>
              <a:rPr lang="en-US" altLang="id-ID" sz="500"/>
              <a:t> tab, in the </a:t>
            </a:r>
            <a:r>
              <a:rPr lang="en-US" altLang="id-ID" sz="500" b="1"/>
              <a:t>Font</a:t>
            </a:r>
            <a:r>
              <a:rPr lang="en-US" altLang="id-ID" sz="500"/>
              <a:t> group, select </a:t>
            </a:r>
            <a:r>
              <a:rPr lang="en-US" altLang="id-ID" sz="500" b="1"/>
              <a:t>Corbel </a:t>
            </a:r>
            <a:r>
              <a:rPr lang="en-US" altLang="id-ID" sz="500"/>
              <a:t>from the </a:t>
            </a:r>
            <a:r>
              <a:rPr lang="en-US" altLang="id-ID" sz="500" b="1"/>
              <a:t>Font </a:t>
            </a:r>
            <a:r>
              <a:rPr lang="en-US" altLang="id-ID" sz="500"/>
              <a:t>list,</a:t>
            </a:r>
            <a:r>
              <a:rPr lang="en-US" altLang="id-ID" sz="500" b="1"/>
              <a:t> </a:t>
            </a:r>
            <a:r>
              <a:rPr lang="en-US" altLang="id-ID" sz="500"/>
              <a:t>and then enter </a:t>
            </a:r>
            <a:r>
              <a:rPr lang="en-US" altLang="id-ID" sz="500" b="1"/>
              <a:t>22 </a:t>
            </a:r>
            <a:r>
              <a:rPr lang="en-US" altLang="id-ID" sz="500"/>
              <a:t>in the </a:t>
            </a:r>
            <a:r>
              <a:rPr lang="en-US" altLang="id-ID" sz="500" b="1"/>
              <a:t>Font Size </a:t>
            </a:r>
            <a:r>
              <a:rPr lang="en-US" altLang="id-ID" sz="500"/>
              <a:t>box.</a:t>
            </a: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 startAt="7"/>
            </a:pPr>
            <a:r>
              <a:rPr lang="en-US" altLang="id-ID" sz="500"/>
              <a:t>Select the graphic. Under</a:t>
            </a:r>
            <a:r>
              <a:rPr lang="en-US" altLang="id-ID" sz="500" b="1"/>
              <a:t> SmartArt</a:t>
            </a:r>
            <a:r>
              <a:rPr lang="en-US" altLang="id-ID" sz="500"/>
              <a:t> </a:t>
            </a:r>
            <a:r>
              <a:rPr lang="en-US" altLang="id-ID" sz="500" b="1"/>
              <a:t>Tools</a:t>
            </a:r>
            <a:r>
              <a:rPr lang="en-US" altLang="id-ID" sz="500"/>
              <a:t>, on the </a:t>
            </a:r>
            <a:r>
              <a:rPr lang="en-US" altLang="id-ID" sz="500" b="1"/>
              <a:t>Design</a:t>
            </a:r>
            <a:r>
              <a:rPr lang="en-US" altLang="id-ID" sz="500"/>
              <a:t> tab, in the </a:t>
            </a:r>
            <a:r>
              <a:rPr lang="en-US" altLang="id-ID" sz="500" b="1"/>
              <a:t>SmartArt</a:t>
            </a:r>
            <a:r>
              <a:rPr lang="en-US" altLang="id-ID" sz="500"/>
              <a:t> </a:t>
            </a:r>
            <a:r>
              <a:rPr lang="en-US" altLang="id-ID" sz="500" b="1"/>
              <a:t>Styles</a:t>
            </a:r>
            <a:r>
              <a:rPr lang="en-US" altLang="id-ID" sz="500"/>
              <a:t> group, do the following: </a:t>
            </a:r>
            <a:endParaRPr lang="en-US" altLang="id-ID" sz="500"/>
          </a:p>
          <a:p>
            <a:pPr marL="682625" lvl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Click </a:t>
            </a:r>
            <a:r>
              <a:rPr lang="en-US" altLang="id-ID" sz="500" b="1"/>
              <a:t>Change</a:t>
            </a:r>
            <a:r>
              <a:rPr lang="en-US" altLang="id-ID" sz="500"/>
              <a:t> </a:t>
            </a:r>
            <a:r>
              <a:rPr lang="en-US" altLang="id-ID" sz="500" b="1"/>
              <a:t>Colors</a:t>
            </a:r>
            <a:r>
              <a:rPr lang="en-US" altLang="id-ID" sz="500"/>
              <a:t>, and then under </a:t>
            </a:r>
            <a:r>
              <a:rPr lang="en-US" altLang="id-ID" sz="500" b="1"/>
              <a:t>Colorful</a:t>
            </a:r>
            <a:r>
              <a:rPr lang="en-US" altLang="id-ID" sz="500"/>
              <a:t> click </a:t>
            </a:r>
            <a:r>
              <a:rPr lang="en-US" altLang="id-ID" sz="500" b="1"/>
              <a:t>Colorful Range – Accent Colors 2 to 3 </a:t>
            </a:r>
            <a:r>
              <a:rPr lang="en-US" altLang="id-ID" sz="500"/>
              <a:t>(second option from the left).</a:t>
            </a:r>
            <a:endParaRPr lang="en-US" altLang="id-ID" sz="500"/>
          </a:p>
          <a:p>
            <a:pPr marL="682625" lvl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Click </a:t>
            </a:r>
            <a:r>
              <a:rPr lang="en-US" altLang="id-ID" sz="500" b="1"/>
              <a:t>More</a:t>
            </a:r>
            <a:r>
              <a:rPr lang="en-US" altLang="id-ID" sz="500"/>
              <a:t>, and then under </a:t>
            </a:r>
            <a:r>
              <a:rPr lang="en-US" altLang="id-ID" sz="500" b="1"/>
              <a:t>Best Match for Document</a:t>
            </a:r>
            <a:r>
              <a:rPr lang="en-US" altLang="id-ID" sz="500"/>
              <a:t> click </a:t>
            </a:r>
            <a:r>
              <a:rPr lang="en-US" altLang="id-ID" sz="500" b="1"/>
              <a:t>Moderate Effect </a:t>
            </a:r>
            <a:r>
              <a:rPr lang="en-US" altLang="id-ID" sz="500"/>
              <a:t>(fourth option from the left).</a:t>
            </a: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 startAt="10"/>
            </a:pPr>
            <a:r>
              <a:rPr lang="en-US" altLang="id-ID" sz="500"/>
              <a:t>Select the rounded rectangle at the top of the graphic. Under</a:t>
            </a:r>
            <a:r>
              <a:rPr lang="en-US" altLang="id-ID" sz="500" b="1"/>
              <a:t> SmartArt</a:t>
            </a:r>
            <a:r>
              <a:rPr lang="en-US" altLang="id-ID" sz="500"/>
              <a:t> </a:t>
            </a:r>
            <a:r>
              <a:rPr lang="en-US" altLang="id-ID" sz="500" b="1"/>
              <a:t>Tools</a:t>
            </a:r>
            <a:r>
              <a:rPr lang="en-US" altLang="id-ID" sz="500"/>
              <a:t>, on the </a:t>
            </a:r>
            <a:r>
              <a:rPr lang="en-US" altLang="id-ID" sz="500" b="1"/>
              <a:t>Format</a:t>
            </a:r>
            <a:r>
              <a:rPr lang="en-US" altLang="id-ID" sz="500"/>
              <a:t> tab, in the </a:t>
            </a:r>
            <a:r>
              <a:rPr lang="en-US" altLang="id-ID" sz="500" b="1"/>
              <a:t>Shape</a:t>
            </a:r>
            <a:r>
              <a:rPr lang="en-US" altLang="id-ID" sz="500"/>
              <a:t> </a:t>
            </a:r>
            <a:r>
              <a:rPr lang="en-US" altLang="id-ID" sz="500" b="1"/>
              <a:t>Styles</a:t>
            </a:r>
            <a:r>
              <a:rPr lang="en-US" altLang="id-ID" sz="500"/>
              <a:t> group, click the arrow next to </a:t>
            </a:r>
            <a:r>
              <a:rPr lang="en-US" altLang="id-ID" sz="500" b="1"/>
              <a:t>Shape</a:t>
            </a:r>
            <a:r>
              <a:rPr lang="en-US" altLang="id-ID" sz="500"/>
              <a:t> </a:t>
            </a:r>
            <a:r>
              <a:rPr lang="en-US" altLang="id-ID" sz="500" b="1"/>
              <a:t>Fill</a:t>
            </a:r>
            <a:r>
              <a:rPr lang="en-US" altLang="id-ID" sz="500"/>
              <a:t>, and then under </a:t>
            </a:r>
            <a:r>
              <a:rPr lang="en-US" altLang="id-ID" sz="500" b="1"/>
              <a:t>Theme Colors </a:t>
            </a:r>
            <a:r>
              <a:rPr lang="en-US" altLang="id-ID" sz="500"/>
              <a:t>click </a:t>
            </a:r>
            <a:r>
              <a:rPr lang="en-US" altLang="id-ID" sz="500" b="1"/>
              <a:t>White, Background 1, Darker 35% </a:t>
            </a:r>
            <a:r>
              <a:rPr lang="en-US" altLang="id-ID" sz="500"/>
              <a:t>(fifth row, first option from the left).</a:t>
            </a:r>
            <a:endParaRPr lang="en-US" altLang="id-ID" sz="500"/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SzTx/>
              <a:buFontTx/>
              <a:buAutoNum type="arabicPeriod" startAt="10"/>
            </a:pPr>
            <a:r>
              <a:rPr lang="en-US" altLang="id-ID" sz="500"/>
              <a:t>Click each of the five picture placeholders in the SmartArt graphic, select a picture, and then click </a:t>
            </a:r>
            <a:r>
              <a:rPr lang="en-US" altLang="id-ID" sz="500" b="1"/>
              <a:t>Insert</a:t>
            </a:r>
            <a:r>
              <a:rPr lang="en-US" altLang="id-ID" sz="500"/>
              <a:t>.</a:t>
            </a: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d-ID" sz="500"/>
              <a:t>To reproduce the animation effects on this slide, do the following:</a:t>
            </a: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On the </a:t>
            </a:r>
            <a:r>
              <a:rPr lang="en-US" altLang="id-ID" sz="500" b="1"/>
              <a:t>Animations</a:t>
            </a:r>
            <a:r>
              <a:rPr lang="en-US" altLang="id-ID" sz="500"/>
              <a:t> tab, in the </a:t>
            </a:r>
            <a:r>
              <a:rPr lang="en-US" altLang="id-ID" sz="500" b="1"/>
              <a:t>Advanced Animations</a:t>
            </a:r>
            <a:r>
              <a:rPr lang="en-US" altLang="id-ID" sz="500"/>
              <a:t> group, click </a:t>
            </a:r>
            <a:r>
              <a:rPr lang="en-US" altLang="id-ID" sz="500" b="1"/>
              <a:t>Animation Pane</a:t>
            </a:r>
            <a:r>
              <a:rPr lang="en-US" altLang="id-ID" sz="500"/>
              <a:t>.</a:t>
            </a: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On the slide, select the graphic. On the </a:t>
            </a:r>
            <a:r>
              <a:rPr lang="en-US" altLang="id-ID" sz="500" b="1"/>
              <a:t>Animations</a:t>
            </a:r>
            <a:r>
              <a:rPr lang="en-US" altLang="id-ID" sz="500"/>
              <a:t> tab, in the </a:t>
            </a:r>
            <a:r>
              <a:rPr lang="en-US" altLang="id-ID" sz="500" b="1"/>
              <a:t>Animation</a:t>
            </a:r>
            <a:r>
              <a:rPr lang="en-US" altLang="id-ID" sz="500"/>
              <a:t> group, click the </a:t>
            </a:r>
            <a:r>
              <a:rPr lang="en-US" altLang="id-ID" sz="500" b="1"/>
              <a:t>More</a:t>
            </a:r>
            <a:r>
              <a:rPr lang="en-US" altLang="id-ID" sz="500"/>
              <a:t> arrow at the Effects Gallery and under </a:t>
            </a:r>
            <a:r>
              <a:rPr lang="en-US" altLang="id-ID" sz="500" b="1"/>
              <a:t>Entrance</a:t>
            </a:r>
            <a:r>
              <a:rPr lang="en-US" altLang="id-ID" sz="500"/>
              <a:t>, click </a:t>
            </a:r>
            <a:r>
              <a:rPr lang="en-US" altLang="id-ID" sz="500" b="1"/>
              <a:t>Float In</a:t>
            </a:r>
            <a:r>
              <a:rPr lang="en-US" altLang="id-ID" sz="500"/>
              <a:t>.</a:t>
            </a:r>
            <a:endParaRPr lang="en-US" altLang="id-ID" sz="500"/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SzTx/>
              <a:buFontTx/>
              <a:buAutoNum type="arabicPeriod"/>
            </a:pPr>
            <a:r>
              <a:rPr lang="en-US" altLang="id-ID" sz="500"/>
              <a:t>In the </a:t>
            </a:r>
            <a:r>
              <a:rPr lang="en-US" altLang="id-ID" sz="500" b="1"/>
              <a:t>Animation</a:t>
            </a:r>
            <a:r>
              <a:rPr lang="en-US" altLang="id-ID" sz="500"/>
              <a:t> group, click </a:t>
            </a:r>
            <a:r>
              <a:rPr lang="en-US" altLang="id-ID" sz="500" b="1"/>
              <a:t>Effect Options</a:t>
            </a:r>
            <a:r>
              <a:rPr lang="en-US" altLang="id-ID" sz="500"/>
              <a:t>, and under </a:t>
            </a:r>
            <a:r>
              <a:rPr lang="en-US" altLang="id-ID" sz="500" b="1"/>
              <a:t>Sequence</a:t>
            </a:r>
            <a:r>
              <a:rPr lang="en-US" altLang="id-ID" sz="500"/>
              <a:t>, click </a:t>
            </a:r>
            <a:r>
              <a:rPr lang="en-US" altLang="id-ID" sz="500" b="1"/>
              <a:t>One by One</a:t>
            </a:r>
            <a:r>
              <a:rPr lang="en-US" altLang="id-ID" sz="500"/>
              <a:t>. </a:t>
            </a: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In the </a:t>
            </a:r>
            <a:r>
              <a:rPr lang="en-US" altLang="id-ID" sz="500" b="1"/>
              <a:t>Timing</a:t>
            </a:r>
            <a:r>
              <a:rPr lang="en-US" altLang="id-ID" sz="500"/>
              <a:t> group, in the </a:t>
            </a:r>
            <a:r>
              <a:rPr lang="en-US" altLang="id-ID" sz="500" b="1"/>
              <a:t>Duration</a:t>
            </a:r>
            <a:r>
              <a:rPr lang="en-US" altLang="id-ID" sz="500"/>
              <a:t> list, click </a:t>
            </a:r>
            <a:r>
              <a:rPr lang="en-US" altLang="id-ID" sz="500" b="1"/>
              <a:t>01.00</a:t>
            </a:r>
            <a:r>
              <a:rPr lang="en-US" altLang="id-ID" sz="500"/>
              <a:t>.</a:t>
            </a:r>
            <a:endParaRPr lang="en-US" altLang="id-ID" sz="500"/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SzTx/>
              <a:buFontTx/>
              <a:buAutoNum type="arabicPeriod"/>
            </a:pPr>
            <a:r>
              <a:rPr lang="en-US" altLang="id-ID" sz="500"/>
              <a:t>In the </a:t>
            </a:r>
            <a:r>
              <a:rPr lang="en-US" altLang="id-ID" sz="500" b="1"/>
              <a:t>Animation Pane</a:t>
            </a:r>
            <a:r>
              <a:rPr lang="en-US" altLang="id-ID" sz="500"/>
              <a:t>, click the double-arrow below the animation effect to expand the list of effects, then do the following to modify the list of effects:</a:t>
            </a:r>
            <a:endParaRPr lang="en-US" altLang="id-ID" sz="500"/>
          </a:p>
          <a:p>
            <a:pPr marL="682625" lvl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Select the first animation effect, and then do the following:</a:t>
            </a:r>
            <a:endParaRPr lang="en-US" altLang="id-ID" sz="500"/>
          </a:p>
          <a:p>
            <a:pPr marL="1136650" lvl="2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On the </a:t>
            </a:r>
            <a:r>
              <a:rPr lang="en-US" altLang="id-ID" sz="500" b="1"/>
              <a:t>Animations</a:t>
            </a:r>
            <a:r>
              <a:rPr lang="en-US" altLang="id-ID" sz="500"/>
              <a:t> tab, in the </a:t>
            </a:r>
            <a:r>
              <a:rPr lang="en-US" altLang="id-ID" sz="500" b="1"/>
              <a:t>Animation</a:t>
            </a:r>
            <a:r>
              <a:rPr lang="en-US" altLang="id-ID" sz="500"/>
              <a:t> group, click the </a:t>
            </a:r>
            <a:r>
              <a:rPr lang="en-US" altLang="id-ID" sz="500" b="1"/>
              <a:t>More</a:t>
            </a:r>
            <a:r>
              <a:rPr lang="en-US" altLang="id-ID" sz="500"/>
              <a:t> arrow at the Effects Gallery and then click </a:t>
            </a:r>
            <a:r>
              <a:rPr lang="en-US" altLang="id-ID" sz="500" b="1"/>
              <a:t>More Entrance Effects</a:t>
            </a:r>
            <a:r>
              <a:rPr lang="en-US" altLang="id-ID" sz="500"/>
              <a:t>. In the </a:t>
            </a:r>
            <a:r>
              <a:rPr lang="en-US" altLang="id-ID" sz="500" b="1"/>
              <a:t>Change Entrance Effects</a:t>
            </a:r>
            <a:r>
              <a:rPr lang="en-US" altLang="id-ID" sz="500"/>
              <a:t> dialog box, under </a:t>
            </a:r>
            <a:r>
              <a:rPr lang="en-US" altLang="id-ID" sz="500" b="1"/>
              <a:t>Moderate</a:t>
            </a:r>
            <a:r>
              <a:rPr lang="en-US" altLang="id-ID" sz="500"/>
              <a:t>, click </a:t>
            </a:r>
            <a:r>
              <a:rPr lang="en-US" altLang="id-ID" sz="500" b="1"/>
              <a:t>Basic Zoom</a:t>
            </a:r>
            <a:r>
              <a:rPr lang="en-US" altLang="id-ID" sz="500"/>
              <a:t>.</a:t>
            </a:r>
            <a:endParaRPr lang="en-US" altLang="id-ID" sz="500"/>
          </a:p>
          <a:p>
            <a:pPr marL="1136650" lvl="2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Click </a:t>
            </a:r>
            <a:r>
              <a:rPr lang="en-US" altLang="id-ID" sz="500" b="1"/>
              <a:t>Effect Options</a:t>
            </a:r>
            <a:r>
              <a:rPr lang="en-US" altLang="id-ID" sz="500"/>
              <a:t>, and under </a:t>
            </a:r>
            <a:r>
              <a:rPr lang="en-US" altLang="id-ID" sz="500" b="1"/>
              <a:t>Zoom</a:t>
            </a:r>
            <a:r>
              <a:rPr lang="en-US" altLang="id-ID" sz="500"/>
              <a:t>, click </a:t>
            </a:r>
            <a:r>
              <a:rPr lang="en-US" altLang="id-ID" sz="500" b="1"/>
              <a:t>Out Slightly</a:t>
            </a:r>
            <a:r>
              <a:rPr lang="en-US" altLang="id-ID" sz="500"/>
              <a:t>. </a:t>
            </a:r>
            <a:endParaRPr lang="en-US" altLang="id-ID" sz="500"/>
          </a:p>
          <a:p>
            <a:pPr marL="1136650" lvl="2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In the </a:t>
            </a:r>
            <a:r>
              <a:rPr lang="en-US" altLang="id-ID" sz="500" b="1"/>
              <a:t>Timing </a:t>
            </a:r>
            <a:r>
              <a:rPr lang="en-US" altLang="id-ID" sz="500"/>
              <a:t>group, in the </a:t>
            </a:r>
            <a:r>
              <a:rPr lang="en-US" altLang="id-ID" sz="500" b="1"/>
              <a:t>Start</a:t>
            </a:r>
            <a:r>
              <a:rPr lang="en-US" altLang="id-ID" sz="500"/>
              <a:t> list, select </a:t>
            </a:r>
            <a:r>
              <a:rPr lang="en-US" altLang="id-ID" sz="500" b="1"/>
              <a:t>With Previous</a:t>
            </a:r>
            <a:r>
              <a:rPr lang="en-US" altLang="id-ID" sz="500"/>
              <a:t>.</a:t>
            </a:r>
            <a:endParaRPr lang="en-US" altLang="id-ID" sz="500"/>
          </a:p>
          <a:p>
            <a:pPr marL="1136650" lvl="2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Also in the </a:t>
            </a:r>
            <a:r>
              <a:rPr lang="en-US" altLang="id-ID" sz="500" b="1"/>
              <a:t>Timing</a:t>
            </a:r>
            <a:r>
              <a:rPr lang="en-US" altLang="id-ID" sz="500"/>
              <a:t> group, in the </a:t>
            </a:r>
            <a:r>
              <a:rPr lang="en-US" altLang="id-ID" sz="500" b="1"/>
              <a:t>Duration</a:t>
            </a:r>
            <a:r>
              <a:rPr lang="en-US" altLang="id-ID" sz="500"/>
              <a:t> list, click </a:t>
            </a:r>
            <a:r>
              <a:rPr lang="en-US" altLang="id-ID" sz="500" b="1"/>
              <a:t>01.00</a:t>
            </a:r>
            <a:r>
              <a:rPr lang="en-US" altLang="id-ID" sz="500"/>
              <a:t>.</a:t>
            </a:r>
            <a:endParaRPr lang="en-US" altLang="id-ID" sz="500"/>
          </a:p>
          <a:p>
            <a:pPr marL="682625" lvl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Press and hold CTRL, select the third, fifth, seventh, ninth, and 11</a:t>
            </a:r>
            <a:r>
              <a:rPr lang="en-US" altLang="id-ID" sz="500" baseline="30000"/>
              <a:t>th</a:t>
            </a:r>
            <a:r>
              <a:rPr lang="en-US" altLang="id-ID" sz="500"/>
              <a:t> animation effects (effects for the text shapes), and then do the following:</a:t>
            </a:r>
            <a:endParaRPr lang="en-US" altLang="id-ID" sz="500"/>
          </a:p>
          <a:p>
            <a:pPr marL="1136650" lvl="2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On the </a:t>
            </a:r>
            <a:r>
              <a:rPr lang="en-US" altLang="id-ID" sz="500" b="1"/>
              <a:t>Animations</a:t>
            </a:r>
            <a:r>
              <a:rPr lang="en-US" altLang="id-ID" sz="500"/>
              <a:t> tab, in the </a:t>
            </a:r>
            <a:r>
              <a:rPr lang="en-US" altLang="id-ID" sz="500" b="1"/>
              <a:t>Animation</a:t>
            </a:r>
            <a:r>
              <a:rPr lang="en-US" altLang="id-ID" sz="500"/>
              <a:t> group, click the </a:t>
            </a:r>
            <a:r>
              <a:rPr lang="en-US" altLang="id-ID" sz="500" b="1"/>
              <a:t>More</a:t>
            </a:r>
            <a:r>
              <a:rPr lang="en-US" altLang="id-ID" sz="500"/>
              <a:t> arrow at the Effects Gallery and then click </a:t>
            </a:r>
            <a:r>
              <a:rPr lang="en-US" altLang="id-ID" sz="500" b="1"/>
              <a:t>More Entrance Effects</a:t>
            </a:r>
            <a:r>
              <a:rPr lang="en-US" altLang="id-ID" sz="500"/>
              <a:t>. In the </a:t>
            </a:r>
            <a:r>
              <a:rPr lang="en-US" altLang="id-ID" sz="500" b="1"/>
              <a:t>Change Entrance Effects</a:t>
            </a:r>
            <a:r>
              <a:rPr lang="en-US" altLang="id-ID" sz="500"/>
              <a:t> dialog box, under </a:t>
            </a:r>
            <a:r>
              <a:rPr lang="en-US" altLang="id-ID" sz="500" b="1"/>
              <a:t>Basic</a:t>
            </a:r>
            <a:r>
              <a:rPr lang="en-US" altLang="id-ID" sz="500"/>
              <a:t>, click </a:t>
            </a:r>
            <a:r>
              <a:rPr lang="en-US" altLang="id-ID" sz="500" b="1"/>
              <a:t>Peek In</a:t>
            </a:r>
            <a:r>
              <a:rPr lang="en-US" altLang="id-ID" sz="500"/>
              <a:t>, and then click </a:t>
            </a:r>
            <a:r>
              <a:rPr lang="en-US" altLang="id-ID" sz="500" b="1"/>
              <a:t>OK</a:t>
            </a:r>
            <a:r>
              <a:rPr lang="en-US" altLang="id-ID" sz="500"/>
              <a:t>. </a:t>
            </a:r>
            <a:endParaRPr lang="en-US" altLang="id-ID" sz="500"/>
          </a:p>
          <a:p>
            <a:pPr marL="1136650" lvl="2">
              <a:lnSpc>
                <a:spcPct val="70000"/>
              </a:lnSpc>
              <a:spcBef>
                <a:spcPct val="0"/>
              </a:spcBef>
              <a:spcAft>
                <a:spcPts val="600"/>
              </a:spcAft>
              <a:buFontTx/>
              <a:buAutoNum type="arabicPeriod"/>
            </a:pPr>
            <a:r>
              <a:rPr lang="en-US" altLang="id-ID" sz="500"/>
              <a:t>In the </a:t>
            </a:r>
            <a:r>
              <a:rPr lang="en-US" altLang="id-ID" sz="500" b="1"/>
              <a:t>Animation</a:t>
            </a:r>
            <a:r>
              <a:rPr lang="en-US" altLang="id-ID" sz="500"/>
              <a:t> group, click </a:t>
            </a:r>
            <a:r>
              <a:rPr lang="en-US" altLang="id-ID" sz="500" b="1"/>
              <a:t>Effect Options</a:t>
            </a:r>
            <a:r>
              <a:rPr lang="en-US" altLang="id-ID" sz="500"/>
              <a:t>, and under </a:t>
            </a:r>
            <a:r>
              <a:rPr lang="en-US" altLang="id-ID" sz="500" b="1"/>
              <a:t>Direction</a:t>
            </a:r>
            <a:r>
              <a:rPr lang="en-US" altLang="id-ID" sz="500"/>
              <a:t>, click </a:t>
            </a:r>
            <a:r>
              <a:rPr lang="en-US" altLang="id-ID" sz="500" b="1"/>
              <a:t>From Top</a:t>
            </a:r>
            <a:r>
              <a:rPr lang="en-US" altLang="id-ID" sz="500"/>
              <a:t>.</a:t>
            </a:r>
            <a:r>
              <a:rPr lang="en-US" altLang="id-ID" sz="500" b="1"/>
              <a:t> </a:t>
            </a:r>
            <a:endParaRPr lang="en-US" altLang="id-ID" sz="500" b="1"/>
          </a:p>
          <a:p>
            <a:pPr marL="1136650" lvl="2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In the </a:t>
            </a:r>
            <a:r>
              <a:rPr lang="en-US" altLang="id-ID" sz="500" b="1"/>
              <a:t>Timing</a:t>
            </a:r>
            <a:r>
              <a:rPr lang="en-US" altLang="id-ID" sz="500"/>
              <a:t> group, in the </a:t>
            </a:r>
            <a:r>
              <a:rPr lang="en-US" altLang="id-ID" sz="500" b="1"/>
              <a:t>Duration</a:t>
            </a:r>
            <a:r>
              <a:rPr lang="en-US" altLang="id-ID" sz="500"/>
              <a:t> list, click </a:t>
            </a:r>
            <a:r>
              <a:rPr lang="en-US" altLang="id-ID" sz="500" b="1"/>
              <a:t>01.00</a:t>
            </a:r>
            <a:r>
              <a:rPr lang="en-US" altLang="id-ID" sz="500"/>
              <a:t>.</a:t>
            </a:r>
            <a:endParaRPr lang="en-US" altLang="id-ID" sz="500"/>
          </a:p>
          <a:p>
            <a:pPr marL="682625" lvl="1">
              <a:lnSpc>
                <a:spcPct val="70000"/>
              </a:lnSpc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en-US" altLang="id-ID" sz="500"/>
              <a:t>Press and hold CTRL, select the second, fourth, sixth, eighth, and 10</a:t>
            </a:r>
            <a:r>
              <a:rPr lang="en-US" altLang="id-ID" sz="500" baseline="30000"/>
              <a:t>th</a:t>
            </a:r>
            <a:r>
              <a:rPr lang="en-US" altLang="id-ID" sz="500"/>
              <a:t>  animation effects (effects for the pictures). In the </a:t>
            </a:r>
            <a:r>
              <a:rPr lang="en-US" altLang="id-ID" sz="500" b="1"/>
              <a:t>Timing </a:t>
            </a:r>
            <a:r>
              <a:rPr lang="en-US" altLang="id-ID" sz="500"/>
              <a:t>group, in the </a:t>
            </a:r>
            <a:r>
              <a:rPr lang="en-US" altLang="id-ID" sz="500" b="1"/>
              <a:t>Start</a:t>
            </a:r>
            <a:r>
              <a:rPr lang="en-US" altLang="id-ID" sz="500"/>
              <a:t> list, select </a:t>
            </a:r>
            <a:r>
              <a:rPr lang="en-US" altLang="id-ID" sz="500" b="1"/>
              <a:t>After Previous</a:t>
            </a:r>
            <a:r>
              <a:rPr lang="en-US" altLang="id-ID" sz="500"/>
              <a:t>.</a:t>
            </a: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d-ID" sz="500"/>
              <a:t>To reproduce the background effects on this slide, do the following:</a:t>
            </a: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Right-click the slide background area, and then click </a:t>
            </a:r>
            <a:r>
              <a:rPr lang="en-US" altLang="id-ID" sz="500" b="1"/>
              <a:t>Format Background</a:t>
            </a:r>
            <a:r>
              <a:rPr lang="en-US" altLang="id-ID" sz="500"/>
              <a:t>. In the </a:t>
            </a:r>
            <a:r>
              <a:rPr lang="en-US" altLang="id-ID" sz="500" b="1"/>
              <a:t>Format Background </a:t>
            </a:r>
            <a:r>
              <a:rPr lang="en-US" altLang="id-ID" sz="500"/>
              <a:t>dialog box, click </a:t>
            </a:r>
            <a:r>
              <a:rPr lang="en-US" altLang="id-ID" sz="500" b="1"/>
              <a:t>Fill</a:t>
            </a:r>
            <a:r>
              <a:rPr lang="en-US" altLang="id-ID" sz="500"/>
              <a:t> in the left pane, select </a:t>
            </a:r>
            <a:r>
              <a:rPr lang="en-US" altLang="id-ID" sz="500" b="1"/>
              <a:t>Gradient fill</a:t>
            </a:r>
            <a:r>
              <a:rPr lang="en-US" altLang="id-ID" sz="500"/>
              <a:t> in the </a:t>
            </a:r>
            <a:r>
              <a:rPr lang="en-US" altLang="id-ID" sz="500" b="1"/>
              <a:t>Fill</a:t>
            </a:r>
            <a:r>
              <a:rPr lang="en-US" altLang="id-ID" sz="500"/>
              <a:t> pane, and then do the following:</a:t>
            </a:r>
            <a:endParaRPr lang="en-US" altLang="id-ID" sz="500"/>
          </a:p>
          <a:p>
            <a:pPr marL="682625" lvl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In the </a:t>
            </a:r>
            <a:r>
              <a:rPr lang="en-US" altLang="id-ID" sz="500" b="1"/>
              <a:t>Type</a:t>
            </a:r>
            <a:r>
              <a:rPr lang="en-US" altLang="id-ID" sz="500"/>
              <a:t> list, select </a:t>
            </a:r>
            <a:r>
              <a:rPr lang="en-US" altLang="id-ID" sz="500" b="1"/>
              <a:t>Linear</a:t>
            </a:r>
            <a:r>
              <a:rPr lang="en-US" altLang="id-ID" sz="500"/>
              <a:t>.</a:t>
            </a:r>
            <a:endParaRPr lang="en-US" altLang="id-ID" sz="500"/>
          </a:p>
          <a:p>
            <a:pPr marL="682625" lvl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Click the button next to </a:t>
            </a:r>
            <a:r>
              <a:rPr lang="en-US" altLang="id-ID" sz="500" b="1"/>
              <a:t>Direction</a:t>
            </a:r>
            <a:r>
              <a:rPr lang="en-US" altLang="id-ID" sz="500"/>
              <a:t>, and then click </a:t>
            </a:r>
            <a:r>
              <a:rPr lang="en-US" altLang="id-ID" sz="500" b="1"/>
              <a:t>Linear Down </a:t>
            </a:r>
            <a:r>
              <a:rPr lang="en-US" altLang="id-ID" sz="500"/>
              <a:t>(first row, second option from the left).</a:t>
            </a: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id-ID" sz="500"/>
              <a:t>Under </a:t>
            </a:r>
            <a:r>
              <a:rPr lang="en-US" altLang="id-ID" sz="500" b="1"/>
              <a:t>Gradient stops</a:t>
            </a:r>
            <a:r>
              <a:rPr lang="en-US" altLang="id-ID" sz="500"/>
              <a:t>, click </a:t>
            </a:r>
            <a:r>
              <a:rPr lang="en-US" altLang="id-ID" sz="500" b="1"/>
              <a:t>Add gradient stop</a:t>
            </a:r>
            <a:r>
              <a:rPr lang="en-US" altLang="id-ID" sz="500"/>
              <a:t> or </a:t>
            </a:r>
            <a:r>
              <a:rPr lang="en-US" altLang="id-ID" sz="500" b="1"/>
              <a:t>Remove gradient stop</a:t>
            </a:r>
            <a:r>
              <a:rPr lang="en-US" altLang="id-ID" sz="500"/>
              <a:t> until two stops appear on the slider, then customize the gradient stops as follows:</a:t>
            </a:r>
            <a:endParaRPr lang="en-US" altLang="id-ID" sz="500"/>
          </a:p>
          <a:p>
            <a:pPr marL="682625" lvl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Select the first stop in the slider, and then do the following:</a:t>
            </a:r>
            <a:endParaRPr lang="en-US" altLang="id-ID" sz="500"/>
          </a:p>
          <a:p>
            <a:pPr marL="1136650" lvl="2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In the </a:t>
            </a:r>
            <a:r>
              <a:rPr lang="en-US" altLang="id-ID" sz="500" b="1"/>
              <a:t>Position </a:t>
            </a:r>
            <a:r>
              <a:rPr lang="en-US" altLang="id-ID" sz="500"/>
              <a:t>box, enter </a:t>
            </a:r>
            <a:r>
              <a:rPr lang="en-US" altLang="id-ID" sz="500" b="1"/>
              <a:t>0%</a:t>
            </a:r>
            <a:r>
              <a:rPr lang="en-US" altLang="id-ID" sz="500"/>
              <a:t>.</a:t>
            </a:r>
            <a:endParaRPr lang="en-US" altLang="id-ID" sz="500"/>
          </a:p>
          <a:p>
            <a:pPr marL="1136650" lvl="2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Click the button next to </a:t>
            </a:r>
            <a:r>
              <a:rPr lang="en-US" altLang="id-ID" sz="500" b="1"/>
              <a:t>Color</a:t>
            </a:r>
            <a:r>
              <a:rPr lang="en-US" altLang="id-ID" sz="500"/>
              <a:t>, click </a:t>
            </a:r>
            <a:r>
              <a:rPr lang="en-US" altLang="id-ID" sz="500" b="1"/>
              <a:t>More Colors</a:t>
            </a:r>
            <a:r>
              <a:rPr lang="en-US" altLang="id-ID" sz="500"/>
              <a:t>, and then in the </a:t>
            </a:r>
            <a:r>
              <a:rPr lang="en-US" altLang="id-ID" sz="500" b="1"/>
              <a:t>Colors</a:t>
            </a:r>
            <a:r>
              <a:rPr lang="en-US" altLang="id-ID" sz="500"/>
              <a:t> dialog box, on the </a:t>
            </a:r>
            <a:r>
              <a:rPr lang="en-US" altLang="id-ID" sz="500" b="1"/>
              <a:t>Custom</a:t>
            </a:r>
            <a:r>
              <a:rPr lang="en-US" altLang="id-ID" sz="500"/>
              <a:t> tab, enter values for Red: </a:t>
            </a:r>
            <a:r>
              <a:rPr lang="en-US" altLang="id-ID" sz="500" b="1"/>
              <a:t>130</a:t>
            </a:r>
            <a:r>
              <a:rPr lang="en-US" altLang="id-ID" sz="500"/>
              <a:t>, Green: </a:t>
            </a:r>
            <a:r>
              <a:rPr lang="en-US" altLang="id-ID" sz="500" b="1"/>
              <a:t>126</a:t>
            </a:r>
            <a:r>
              <a:rPr lang="en-US" altLang="id-ID" sz="500"/>
              <a:t>, and Blue: </a:t>
            </a:r>
            <a:r>
              <a:rPr lang="en-US" altLang="id-ID" sz="500" b="1"/>
              <a:t>102</a:t>
            </a:r>
            <a:r>
              <a:rPr lang="en-US" altLang="id-ID" sz="500"/>
              <a:t>.</a:t>
            </a:r>
            <a:endParaRPr lang="en-US" altLang="id-ID" sz="500"/>
          </a:p>
          <a:p>
            <a:pPr marL="682625" lvl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Select the last stop on the slider, and then do the following: </a:t>
            </a:r>
            <a:endParaRPr lang="en-US" altLang="id-ID" sz="500"/>
          </a:p>
          <a:p>
            <a:pPr marL="1136650" lvl="2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In the </a:t>
            </a:r>
            <a:r>
              <a:rPr lang="en-US" altLang="id-ID" sz="500" b="1"/>
              <a:t>Position </a:t>
            </a:r>
            <a:r>
              <a:rPr lang="en-US" altLang="id-ID" sz="500"/>
              <a:t>box, enter </a:t>
            </a:r>
            <a:r>
              <a:rPr lang="en-US" altLang="id-ID" sz="500" b="1"/>
              <a:t>71%</a:t>
            </a:r>
            <a:r>
              <a:rPr lang="en-US" altLang="id-ID" sz="500"/>
              <a:t>.</a:t>
            </a:r>
            <a:endParaRPr lang="en-US" altLang="id-ID" sz="500"/>
          </a:p>
          <a:p>
            <a:pPr marL="1136650" lvl="2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id-ID" sz="500"/>
              <a:t>Click the button next to </a:t>
            </a:r>
            <a:r>
              <a:rPr lang="en-US" altLang="id-ID" sz="500" b="1"/>
              <a:t>Color</a:t>
            </a:r>
            <a:r>
              <a:rPr lang="en-US" altLang="id-ID" sz="500"/>
              <a:t>, and then click </a:t>
            </a:r>
            <a:r>
              <a:rPr lang="en-US" altLang="id-ID" sz="500" b="1"/>
              <a:t>Black, Text 1 </a:t>
            </a:r>
            <a:r>
              <a:rPr lang="en-US" altLang="id-ID" sz="500"/>
              <a:t>(first row, second option from the left). </a:t>
            </a:r>
            <a:endParaRPr lang="en-US" altLang="id-ID" sz="500"/>
          </a:p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altLang="id-ID" sz="500"/>
          </a:p>
        </p:txBody>
      </p:sp>
      <p:sp>
        <p:nvSpPr>
          <p:cNvPr id="158723" name="Slide Image Placeholder 5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401638" y="544513"/>
            <a:ext cx="4953001" cy="2786062"/>
          </a:xfrm>
        </p:spPr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id-ID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1" y="288414"/>
            <a:ext cx="11573197" cy="826443"/>
          </a:xfrm>
          <a:prstGeom prst="rect">
            <a:avLst/>
          </a:prstGeom>
          <a:noFill/>
          <a:effectLst/>
        </p:spPr>
        <p:txBody>
          <a:bodyPr wrap="square" lIns="68579" tIns="34289" rIns="68579" bIns="34289" rtlCol="0" anchor="ctr">
            <a:spAutoFit/>
          </a:bodyPr>
          <a:lstStyle>
            <a:lvl1pPr marL="0" indent="0" algn="ctr">
              <a:buFontTx/>
              <a:buNone/>
              <a:defRPr lang="en-US" altLang="ko-KR" sz="5465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marL="0" lvl="0"/>
            <a:r>
              <a:rPr lang="en-US" altLang="ko-KR" dirty="0"/>
              <a:t>BASIC LAYOUT</a:t>
            </a:r>
            <a:endParaRPr lang="en-US" altLang="ko-KR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2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5150"/>
            <a:ext cx="12192000" cy="24828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1803405"/>
            <a:ext cx="9448800" cy="1825096"/>
          </a:xfrm>
        </p:spPr>
        <p:txBody>
          <a:bodyPr anchor="b">
            <a:normAutofit/>
          </a:bodyPr>
          <a:lstStyle>
            <a:lvl1pPr algn="l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632201"/>
            <a:ext cx="9448800" cy="685800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09561" y="4314328"/>
            <a:ext cx="2910840" cy="374642"/>
          </a:xfrm>
        </p:spPr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71600" y="4323845"/>
            <a:ext cx="6400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77200" y="1430866"/>
            <a:ext cx="2743200" cy="365125"/>
          </a:xfrm>
        </p:spPr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2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5150"/>
            <a:ext cx="12192000" cy="24828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753533"/>
            <a:ext cx="10820399" cy="2801935"/>
          </a:xfrm>
        </p:spPr>
        <p:txBody>
          <a:bodyPr anchor="b">
            <a:normAutofit/>
          </a:bodyPr>
          <a:lstStyle>
            <a:lvl1pPr algn="r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467" y="3641725"/>
            <a:ext cx="10490200" cy="955675"/>
          </a:xfrm>
        </p:spPr>
        <p:txBody>
          <a:bodyPr>
            <a:normAutofit/>
          </a:bodyPr>
          <a:lstStyle>
            <a:lvl1pPr marL="0" indent="0" algn="r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814452" y="381000"/>
            <a:ext cx="2910840" cy="365125"/>
          </a:xfrm>
        </p:spPr>
        <p:txBody>
          <a:bodyPr/>
          <a:lstStyle>
            <a:lvl1pPr algn="r">
              <a:defRPr/>
            </a:lvl1pPr>
          </a:lstStyle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5800" y="381001"/>
            <a:ext cx="6991492" cy="36406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2452" y="381000"/>
            <a:ext cx="643748" cy="365125"/>
          </a:xfrm>
        </p:spPr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194559"/>
            <a:ext cx="5334000" cy="40241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194559"/>
            <a:ext cx="5334000" cy="40241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5600" y="762000"/>
            <a:ext cx="8610600" cy="1295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9" y="2183802"/>
            <a:ext cx="5079991" cy="823912"/>
          </a:xfrm>
        </p:spPr>
        <p:txBody>
          <a:bodyPr anchor="b">
            <a:norm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3132666"/>
            <a:ext cx="5311775" cy="30860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0800" y="2183802"/>
            <a:ext cx="5105400" cy="823912"/>
          </a:xfrm>
        </p:spPr>
        <p:txBody>
          <a:bodyPr anchor="b">
            <a:norm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132666"/>
            <a:ext cx="5334000" cy="30860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524000"/>
            <a:ext cx="4114800" cy="1600200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95582" y="746759"/>
            <a:ext cx="6510618" cy="5471925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3124199"/>
            <a:ext cx="4114800" cy="309448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524000"/>
            <a:ext cx="6873240" cy="1600200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861238" y="751241"/>
            <a:ext cx="3644962" cy="5467443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3124199"/>
            <a:ext cx="6873240" cy="309448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77" y="4697360"/>
            <a:ext cx="10822034" cy="819355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81727" y="941439"/>
            <a:ext cx="10821840" cy="3478161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5516715"/>
            <a:ext cx="10820400" cy="701969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2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5150"/>
            <a:ext cx="12192000" cy="24828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753532"/>
            <a:ext cx="10820400" cy="2802467"/>
          </a:xfrm>
        </p:spPr>
        <p:txBody>
          <a:bodyPr anchor="ctr"/>
          <a:lstStyle>
            <a:lvl1pPr algn="l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467" y="3649133"/>
            <a:ext cx="10130516" cy="999067"/>
          </a:xfrm>
        </p:spPr>
        <p:txBody>
          <a:bodyPr anchor="ctr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14452" y="381000"/>
            <a:ext cx="2910840" cy="365125"/>
          </a:xfrm>
        </p:spPr>
        <p:txBody>
          <a:bodyPr/>
          <a:lstStyle>
            <a:lvl1pPr algn="r">
              <a:defRPr/>
            </a:lvl1pPr>
          </a:lstStyle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5800" y="379941"/>
            <a:ext cx="6991492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862452" y="381000"/>
            <a:ext cx="643748" cy="365125"/>
          </a:xfrm>
        </p:spPr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2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5150"/>
            <a:ext cx="12192000" cy="24828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467" y="753533"/>
            <a:ext cx="10151533" cy="2604495"/>
          </a:xfrm>
        </p:spPr>
        <p:txBody>
          <a:bodyPr anchor="ctr"/>
          <a:lstStyle>
            <a:lvl1pPr algn="l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303865" y="3365556"/>
            <a:ext cx="9592736" cy="44444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467" y="3959862"/>
            <a:ext cx="10151533" cy="679871"/>
          </a:xfrm>
        </p:spPr>
        <p:txBody>
          <a:bodyPr anchor="ctr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14452" y="381000"/>
            <a:ext cx="2910840" cy="365125"/>
          </a:xfrm>
        </p:spPr>
        <p:txBody>
          <a:bodyPr/>
          <a:lstStyle>
            <a:lvl1pPr algn="r">
              <a:defRPr/>
            </a:lvl1pPr>
          </a:lstStyle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5800" y="379941"/>
            <a:ext cx="6991492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862452" y="381000"/>
            <a:ext cx="643748" cy="365125"/>
          </a:xfrm>
        </p:spPr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76250" y="93345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  <a:endParaRPr lang="en-US" sz="8000" dirty="0">
              <a:solidFill>
                <a:schemeClr val="tx1"/>
              </a:solidFill>
              <a:effectLst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984230" y="270129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  <a:endParaRPr lang="en-US" sz="8000" dirty="0">
              <a:solidFill>
                <a:schemeClr val="tx1"/>
              </a:solidFill>
              <a:effectLst/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2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5150"/>
            <a:ext cx="12192000" cy="24828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495" y="1124701"/>
            <a:ext cx="10146186" cy="2511835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467" y="3648315"/>
            <a:ext cx="10144654" cy="999885"/>
          </a:xfrm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14452" y="378883"/>
            <a:ext cx="2910840" cy="365125"/>
          </a:xfrm>
        </p:spPr>
        <p:txBody>
          <a:bodyPr/>
          <a:lstStyle>
            <a:lvl1pPr algn="r">
              <a:defRPr/>
            </a:lvl1pPr>
          </a:lstStyle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5800" y="378883"/>
            <a:ext cx="6991492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862452" y="381000"/>
            <a:ext cx="643748" cy="365125"/>
          </a:xfrm>
        </p:spPr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895600" y="761999"/>
            <a:ext cx="8610599" cy="13038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685800" y="2202080"/>
            <a:ext cx="3456432" cy="617320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799" y="2904565"/>
            <a:ext cx="3456432" cy="331413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68800" y="2201333"/>
            <a:ext cx="3456432" cy="626534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366858" y="2904067"/>
            <a:ext cx="3456432" cy="331461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051800" y="2192866"/>
            <a:ext cx="3456432" cy="626534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8051801" y="2904565"/>
            <a:ext cx="3456432" cy="331413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2895600" y="762000"/>
            <a:ext cx="8610599" cy="1295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688618" y="4191000"/>
            <a:ext cx="3451582" cy="682765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88618" y="2362200"/>
            <a:ext cx="3451582" cy="1524000"/>
          </a:xfrm>
          <a:prstGeom prst="roundRect">
            <a:avLst>
              <a:gd name="adj" fmla="val 0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688618" y="4873764"/>
            <a:ext cx="3451582" cy="1344921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74263" y="4191000"/>
            <a:ext cx="3448935" cy="682765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374263" y="2362200"/>
            <a:ext cx="3448936" cy="1524000"/>
          </a:xfrm>
          <a:prstGeom prst="roundRect">
            <a:avLst>
              <a:gd name="adj" fmla="val 0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374264" y="4873763"/>
            <a:ext cx="3448935" cy="1344921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049731" y="4191000"/>
            <a:ext cx="3456469" cy="682765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049855" y="2362200"/>
            <a:ext cx="3447878" cy="1524000"/>
          </a:xfrm>
          <a:prstGeom prst="roundRect">
            <a:avLst>
              <a:gd name="adj" fmla="val 0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8049731" y="4873761"/>
            <a:ext cx="3452445" cy="1344921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2194559"/>
            <a:ext cx="10820400" cy="40241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 showMasterSp="0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2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5150"/>
            <a:ext cx="12192000" cy="2482850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48800" y="745066"/>
            <a:ext cx="2057400" cy="3903133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24466" y="745067"/>
            <a:ext cx="8204201" cy="390313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814452" y="379941"/>
            <a:ext cx="2910840" cy="365125"/>
          </a:xfrm>
        </p:spPr>
        <p:txBody>
          <a:bodyPr/>
          <a:lstStyle>
            <a:lvl1pPr algn="r">
              <a:defRPr/>
            </a:lvl1pPr>
          </a:lstStyle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5800" y="381000"/>
            <a:ext cx="6991492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2452" y="381000"/>
            <a:ext cx="643748" cy="365125"/>
          </a:xfrm>
        </p:spPr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0.xml"/><Relationship Id="rId7" Type="http://schemas.openxmlformats.org/officeDocument/2006/relationships/slideLayout" Target="../slideLayouts/slideLayout19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12" Type="http://schemas.openxmlformats.org/officeDocument/2006/relationships/image" Target="../media/image1.jpeg"/><Relationship Id="rId11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2.xml"/><Relationship Id="rId8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0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11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3.xml"/><Relationship Id="rId8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9" Type="http://schemas.openxmlformats.org/officeDocument/2006/relationships/theme" Target="../theme/theme4.xml"/><Relationship Id="rId18" Type="http://schemas.openxmlformats.org/officeDocument/2006/relationships/image" Target="../media/image3.png"/><Relationship Id="rId17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>
            <a:fillRect/>
          </a:stretch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D617047C-2802-4E41-8E8D-F4F431EBB214}" type="slidenum">
              <a:rPr lang="en-US" smtClean="0"/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anose="05020102010507070707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anose="05020102010507070707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anose="05020102010507070707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anose="05020102010507070707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anose="05020102010507070707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anose="05020102010507070707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anose="05020102010507070707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anose="05020102010507070707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anose="05020102010507070707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2-HD-TOP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4414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95600" y="764373"/>
            <a:ext cx="8610600" cy="12930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194560"/>
            <a:ext cx="10820400" cy="4024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95360" y="6356350"/>
            <a:ext cx="29108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FA920F-730D-4BE8-BA91-8B710D990FD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355845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000" y="3810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17047C-2802-4E41-8E8D-F4F431EBB214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</p:sldLayoutIdLst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40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5.xml"/><Relationship Id="rId5" Type="http://schemas.openxmlformats.org/officeDocument/2006/relationships/image" Target="../media/image7.jpeg"/><Relationship Id="rId4" Type="http://schemas.openxmlformats.org/officeDocument/2006/relationships/tags" Target="../tags/tag1.xml"/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image" Target="../media/image33.png"/><Relationship Id="rId8" Type="http://schemas.openxmlformats.org/officeDocument/2006/relationships/image" Target="../media/image32.jpeg"/><Relationship Id="rId7" Type="http://schemas.openxmlformats.org/officeDocument/2006/relationships/image" Target="../media/image31.jpeg"/><Relationship Id="rId6" Type="http://schemas.openxmlformats.org/officeDocument/2006/relationships/image" Target="../media/image30.jpeg"/><Relationship Id="rId5" Type="http://schemas.microsoft.com/office/2007/relationships/diagramDrawing" Target="../diagrams/drawing1.xml"/><Relationship Id="rId4" Type="http://schemas.openxmlformats.org/officeDocument/2006/relationships/diagramColors" Target="../diagrams/colors1.xml"/><Relationship Id="rId3" Type="http://schemas.openxmlformats.org/officeDocument/2006/relationships/diagramQuickStyle" Target="../diagrams/quickStyle1.xml"/><Relationship Id="rId2" Type="http://schemas.openxmlformats.org/officeDocument/2006/relationships/diagramLayout" Target="../diagrams/layout1.xml"/><Relationship Id="rId11" Type="http://schemas.openxmlformats.org/officeDocument/2006/relationships/notesSlide" Target="../notesSlides/notesSlide2.xml"/><Relationship Id="rId10" Type="http://schemas.openxmlformats.org/officeDocument/2006/relationships/slideLayout" Target="../slideLayouts/slideLayout7.xml"/><Relationship Id="rId1" Type="http://schemas.openxmlformats.org/officeDocument/2006/relationships/diagramData" Target="../diagrams/data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microsoft.com/office/2007/relationships/diagramDrawing" Target="../diagrams/drawing2.xml"/><Relationship Id="rId4" Type="http://schemas.openxmlformats.org/officeDocument/2006/relationships/diagramColors" Target="../diagrams/colors2.xml"/><Relationship Id="rId3" Type="http://schemas.openxmlformats.org/officeDocument/2006/relationships/diagramQuickStyle" Target="../diagrams/quickStyle2.xml"/><Relationship Id="rId2" Type="http://schemas.openxmlformats.org/officeDocument/2006/relationships/diagramLayout" Target="../diagrams/layout2.xml"/><Relationship Id="rId1" Type="http://schemas.openxmlformats.org/officeDocument/2006/relationships/diagramData" Target="../diagrams/data2.xml"/></Relationships>
</file>

<file path=ppt/slides/_rels/slide13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14.xml"/><Relationship Id="rId5" Type="http://schemas.microsoft.com/office/2007/relationships/diagramDrawing" Target="../diagrams/drawing3.xml"/><Relationship Id="rId4" Type="http://schemas.openxmlformats.org/officeDocument/2006/relationships/diagramColors" Target="../diagrams/colors3.xml"/><Relationship Id="rId3" Type="http://schemas.openxmlformats.org/officeDocument/2006/relationships/diagramQuickStyle" Target="../diagrams/quickStyle3.xml"/><Relationship Id="rId2" Type="http://schemas.openxmlformats.org/officeDocument/2006/relationships/diagramLayout" Target="../diagrams/layout3.xml"/><Relationship Id="rId1" Type="http://schemas.openxmlformats.org/officeDocument/2006/relationships/diagramData" Target="../diagrams/data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image" Target="../media/image36.png"/><Relationship Id="rId1" Type="http://schemas.openxmlformats.org/officeDocument/2006/relationships/image" Target="../media/image35.jpeg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2.xml"/><Relationship Id="rId3" Type="http://schemas.openxmlformats.org/officeDocument/2006/relationships/image" Target="../media/image10.jpeg"/><Relationship Id="rId2" Type="http://schemas.microsoft.com/office/2007/relationships/hdphoto" Target="../media/image9.wdp"/><Relationship Id="rId1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7.xml"/><Relationship Id="rId4" Type="http://schemas.openxmlformats.org/officeDocument/2006/relationships/image" Target="../media/image14.jpeg"/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microsoft.com/office/2007/relationships/hdphoto" Target="../media/image16.wdp"/><Relationship Id="rId1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7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26.png"/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image" Target="../media/image23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29.GIF"/><Relationship Id="rId2" Type="http://schemas.openxmlformats.org/officeDocument/2006/relationships/image" Target="../media/image28.GIF"/><Relationship Id="rId1" Type="http://schemas.openxmlformats.org/officeDocument/2006/relationships/image" Target="../media/image27.w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13383" y="801692"/>
            <a:ext cx="905454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TINGNYA </a:t>
            </a:r>
            <a:r>
              <a:rPr lang="en-US" sz="3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PEK KEMANAN PANGAN </a:t>
            </a:r>
            <a:r>
              <a:rPr lang="en-US" sz="3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LAM PENINGKATAN MUTU DAN DAYA SAING PRODUK HORTIKULTURA</a:t>
            </a:r>
            <a:endParaRPr lang="en-US" sz="3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Picture 4" descr="http://4.bp.blogspot.com/-W6VwDFm-pLU/VPmWBtQMlyI/AAAAAAAABo8/fm3peWwP0rg/s1600/Kementerian%2BPertanian.png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940" y="5075250"/>
            <a:ext cx="1562277" cy="1581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940352" y="2983803"/>
            <a:ext cx="613741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 err="1"/>
              <a:t>Oleh</a:t>
            </a:r>
            <a:r>
              <a:rPr lang="en-US" sz="2000" b="1" dirty="0"/>
              <a:t> :</a:t>
            </a:r>
            <a:endParaRPr lang="en-US" sz="2000" b="1" dirty="0"/>
          </a:p>
          <a:p>
            <a:pPr algn="r"/>
            <a:r>
              <a:rPr lang="en-US" sz="2000" b="1" dirty="0"/>
              <a:t>DIREKTUR </a:t>
            </a:r>
            <a:endParaRPr lang="en-US" sz="2000" b="1" dirty="0"/>
          </a:p>
          <a:p>
            <a:pPr algn="r"/>
            <a:r>
              <a:rPr lang="en-US" sz="2000" b="1" dirty="0"/>
              <a:t>PENGOLAHAN DAN PEMASARAN HASIL </a:t>
            </a:r>
            <a:endParaRPr lang="en-US" sz="2000" b="1" dirty="0"/>
          </a:p>
          <a:p>
            <a:pPr algn="r"/>
            <a:r>
              <a:rPr lang="en-US" sz="2000" b="1" dirty="0"/>
              <a:t>HORTIKULTURA</a:t>
            </a:r>
            <a:endParaRPr lang="en-US" sz="2000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32" y="1511663"/>
            <a:ext cx="2332587" cy="1472140"/>
          </a:xfrm>
          <a:prstGeom prst="ellipse">
            <a:avLst/>
          </a:prstGeom>
          <a:ln w="952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310" y="2599798"/>
            <a:ext cx="2159018" cy="1429728"/>
          </a:xfrm>
          <a:prstGeom prst="ellipse">
            <a:avLst/>
          </a:prstGeom>
          <a:ln w="3175">
            <a:solidFill>
              <a:srgbClr val="000000"/>
            </a:solidFill>
            <a:miter lim="800000"/>
            <a:headEnd/>
            <a:tailEnd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3" descr="https://encrypted-tbn1.gstatic.com/images?q=tbn:ANd9GcSVFWd1K65TMrY97xFvv35FbxlEr-E4TnRfxx9ubDaMSX1TJhREP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63789" y="3690574"/>
            <a:ext cx="2081879" cy="1430862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4" name="TextBox 13"/>
          <p:cNvSpPr txBox="1"/>
          <p:nvPr/>
        </p:nvSpPr>
        <p:spPr>
          <a:xfrm>
            <a:off x="6281531" y="4935104"/>
            <a:ext cx="89154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nn-NO" alt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Disampaikan pada:</a:t>
            </a:r>
            <a:endParaRPr lang="nn-NO" alt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Web </a:t>
            </a:r>
            <a:r>
              <a:rPr lang="en-US" altLang="en-US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Binar</a:t>
            </a:r>
            <a:r>
              <a:rPr lang="en-US" alt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 16 </a:t>
            </a:r>
            <a:r>
              <a:rPr lang="en-US" altLang="en-US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Juli</a:t>
            </a:r>
            <a:r>
              <a:rPr lang="en-US" alt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 2021</a:t>
            </a:r>
            <a:endParaRPr lang="en-US" alt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split orient="vert"/>
      </p:transition>
    </mc:Choice>
    <mc:Fallback>
      <p:transition spd="slow">
        <p:split orient="vert"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419477" y="1925644"/>
            <a:ext cx="2801939" cy="268578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aphicFrame>
        <p:nvGraphicFramePr>
          <p:cNvPr id="11" name="Diagram 10"/>
          <p:cNvGraphicFramePr/>
          <p:nvPr/>
        </p:nvGraphicFramePr>
        <p:xfrm>
          <a:off x="467495" y="1628800"/>
          <a:ext cx="11277600" cy="4768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pic>
        <p:nvPicPr>
          <p:cNvPr id="157699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141" y="1925644"/>
            <a:ext cx="2592387" cy="270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7700" name="Picture 6"/>
          <p:cNvSpPr>
            <a:spLocks noChangeAspect="1"/>
          </p:cNvSpPr>
          <p:nvPr/>
        </p:nvSpPr>
        <p:spPr bwMode="auto">
          <a:xfrm>
            <a:off x="3419478" y="1906588"/>
            <a:ext cx="2814639" cy="274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d-ID" altLang="id-ID" sz="14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57701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0315" y="1916119"/>
            <a:ext cx="2501900" cy="259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7702" name="Picture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1117" y="1906588"/>
            <a:ext cx="2497137" cy="2582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720725" y="252760"/>
            <a:ext cx="10582275" cy="1077218"/>
          </a:xfrm>
          <a:prstGeom prst="rect">
            <a:avLst/>
          </a:prstGeom>
          <a:solidFill>
            <a:srgbClr val="92D050"/>
          </a:solidFill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n-ID" sz="3200" b="1" dirty="0">
                <a:solidFill>
                  <a:schemeClr val="tx1"/>
                </a:solidFill>
                <a:latin typeface="Aharoni" pitchFamily="2" charset="-79"/>
                <a:cs typeface="Aharoni" pitchFamily="2" charset="-79"/>
              </a:rPr>
              <a:t>PENINGKATAN STANDARDISASI </a:t>
            </a:r>
            <a:r>
              <a:rPr lang="id-ID" sz="3200" b="1" dirty="0">
                <a:solidFill>
                  <a:schemeClr val="tx1"/>
                </a:solidFill>
                <a:latin typeface="Aharoni" pitchFamily="2" charset="-79"/>
                <a:cs typeface="Aharoni" pitchFamily="2" charset="-79"/>
              </a:rPr>
              <a:t>DAN MUTU </a:t>
            </a:r>
            <a:r>
              <a:rPr lang="en-ID" sz="3200" b="1" dirty="0">
                <a:solidFill>
                  <a:schemeClr val="tx1"/>
                </a:solidFill>
                <a:latin typeface="Aharoni" pitchFamily="2" charset="-79"/>
                <a:cs typeface="Aharoni" pitchFamily="2" charset="-79"/>
              </a:rPr>
              <a:t>PRODUK HORTIKULTURA</a:t>
            </a:r>
            <a:endParaRPr lang="en-ID" sz="3200" b="1" dirty="0">
              <a:solidFill>
                <a:schemeClr val="tx1"/>
              </a:solidFill>
              <a:latin typeface="Aharoni" pitchFamily="2" charset="-79"/>
              <a:cs typeface="Aharoni" pitchFamily="2" charset="-79"/>
            </a:endParaRPr>
          </a:p>
        </p:txBody>
      </p:sp>
      <p:pic>
        <p:nvPicPr>
          <p:cNvPr id="20482" name="Picture 2" descr="http://okkpd.pertanian.jatimprov.go.id/wp-content/uploads/2016/02/Prima1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477" y="2250831"/>
            <a:ext cx="2801939" cy="2013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ACBF4AF3-FAB8-444C-81AB-52C89640E27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>
                                            <p:graphicEl>
                                              <a:dgm id="{ACBF4AF3-FAB8-444C-81AB-52C89640E279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>
                                            <p:graphicEl>
                                              <a:dgm id="{ACBF4AF3-FAB8-444C-81AB-52C89640E279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1">
                                            <p:graphicEl>
                                              <a:dgm id="{ACBF4AF3-FAB8-444C-81AB-52C89640E27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C43EB61A-2E04-409F-8F87-79F190ED3C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>
                                            <p:graphicEl>
                                              <a:dgm id="{C43EB61A-2E04-409F-8F87-79F190ED3CE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>
                                            <p:graphicEl>
                                              <a:dgm id="{C43EB61A-2E04-409F-8F87-79F190ED3C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>
                                            <p:graphicEl>
                                              <a:dgm id="{C43EB61A-2E04-409F-8F87-79F190ED3C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2572025E-E8B8-4F94-94D0-DC22D7F762F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9" dur="1000"/>
                                        <p:tgtEl>
                                          <p:spTgt spid="11">
                                            <p:graphicEl>
                                              <a:dgm id="{2572025E-E8B8-4F94-94D0-DC22D7F762F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BF646D7A-C7D0-4489-A68F-61F32B7DB0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>
                                            <p:graphicEl>
                                              <a:dgm id="{BF646D7A-C7D0-4489-A68F-61F32B7DB0C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1">
                                            <p:graphicEl>
                                              <a:dgm id="{BF646D7A-C7D0-4489-A68F-61F32B7DB0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>
                                            <p:graphicEl>
                                              <a:dgm id="{BF646D7A-C7D0-4489-A68F-61F32B7DB0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E4B0666F-2CF1-4C21-A251-46E6EBFF7C1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9" dur="1000"/>
                                        <p:tgtEl>
                                          <p:spTgt spid="11">
                                            <p:graphicEl>
                                              <a:dgm id="{E4B0666F-2CF1-4C21-A251-46E6EBFF7C1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41BC1ABA-1F87-4B1E-94EC-41724CD1265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1">
                                            <p:graphicEl>
                                              <a:dgm id="{41BC1ABA-1F87-4B1E-94EC-41724CD1265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1">
                                            <p:graphicEl>
                                              <a:dgm id="{41BC1ABA-1F87-4B1E-94EC-41724CD1265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1">
                                            <p:graphicEl>
                                              <a:dgm id="{41BC1ABA-1F87-4B1E-94EC-41724CD1265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5284ED54-4761-44DA-8086-D5FD397A1C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9" dur="1000"/>
                                        <p:tgtEl>
                                          <p:spTgt spid="11">
                                            <p:graphicEl>
                                              <a:dgm id="{5284ED54-4761-44DA-8086-D5FD397A1C9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D88C7409-AB93-4FE3-A61D-F51EE8A4B0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1">
                                            <p:graphicEl>
                                              <a:dgm id="{D88C7409-AB93-4FE3-A61D-F51EE8A4B00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">
                                            <p:graphicEl>
                                              <a:dgm id="{D88C7409-AB93-4FE3-A61D-F51EE8A4B0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1">
                                            <p:graphicEl>
                                              <a:dgm id="{D88C7409-AB93-4FE3-A61D-F51EE8A4B0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87B5BDBA-3C7A-41F1-8C33-F13937A84B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9" dur="1000"/>
                                        <p:tgtEl>
                                          <p:spTgt spid="11">
                                            <p:graphicEl>
                                              <a:dgm id="{87B5BDBA-3C7A-41F1-8C33-F13937A84B3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Sub>
          <a:bldDgm bld="one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61368" y="17633"/>
            <a:ext cx="11784061" cy="584775"/>
          </a:xfrm>
          <a:prstGeom prst="rect">
            <a:avLst/>
          </a:prstGeom>
          <a:solidFill>
            <a:srgbClr val="FFCCFF"/>
          </a:solidFill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3200" b="1" spc="50" dirty="0">
                <a:ln w="11430"/>
                <a:solidFill>
                  <a:schemeClr val="tx1">
                    <a:lumMod val="85000"/>
                    <a:lumOff val="15000"/>
                  </a:schemeClr>
                </a:solidFill>
                <a:latin typeface="Aharoni" pitchFamily="2" charset="-79"/>
                <a:ea typeface="SimSun" panose="02010600030101010101" pitchFamily="2" charset="-122"/>
                <a:cs typeface="Aharoni" pitchFamily="2" charset="-79"/>
              </a:rPr>
              <a:t>ALUR PIKIR PENERAPAN GAP </a:t>
            </a:r>
            <a:endParaRPr lang="en-US" sz="3200" b="1" spc="50" dirty="0">
              <a:ln w="11430"/>
              <a:solidFill>
                <a:schemeClr val="tx1">
                  <a:lumMod val="85000"/>
                  <a:lumOff val="15000"/>
                </a:schemeClr>
              </a:solidFill>
              <a:latin typeface="Aharoni" pitchFamily="2" charset="-79"/>
              <a:ea typeface="SimSun" panose="02010600030101010101" pitchFamily="2" charset="-122"/>
              <a:cs typeface="Aharoni" pitchFamily="2" charset="-79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55495" y="709978"/>
          <a:ext cx="11609252" cy="975376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2902313"/>
                <a:gridCol w="2902313"/>
                <a:gridCol w="2902313"/>
                <a:gridCol w="2902313"/>
              </a:tblGrid>
              <a:tr h="365760">
                <a:tc rowSpan="2">
                  <a:txBody>
                    <a:bodyPr/>
                    <a:lstStyle/>
                    <a:p>
                      <a:pPr algn="ctr"/>
                      <a:r>
                        <a:rPr lang="id-ID" sz="3200" dirty="0"/>
                        <a:t>Pasar Global</a:t>
                      </a:r>
                      <a:endParaRPr lang="id-ID" sz="3200" b="1" dirty="0"/>
                    </a:p>
                  </a:txBody>
                  <a:tcPr marL="91439" marR="91439" marT="45724" marB="45724" anchor="ctr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id-ID" sz="2400" b="1" i="1" dirty="0">
                          <a:solidFill>
                            <a:srgbClr val="006600"/>
                          </a:solidFill>
                          <a:effectLst/>
                        </a:rPr>
                        <a:t>Good Agriculture Practices</a:t>
                      </a:r>
                      <a:endParaRPr lang="id-ID" sz="2400" b="1" i="1" dirty="0">
                        <a:solidFill>
                          <a:srgbClr val="006600"/>
                        </a:solidFill>
                        <a:effectLst/>
                      </a:endParaRPr>
                    </a:p>
                  </a:txBody>
                  <a:tcPr marL="91439" marR="91439" marT="45724" marB="45724">
                    <a:solidFill>
                      <a:srgbClr val="66CCFF"/>
                    </a:solidFill>
                  </a:tcPr>
                </a:tc>
                <a:tc hMerge="1">
                  <a:tcPr/>
                </a:tc>
                <a:tc hMerge="1">
                  <a:tcPr/>
                </a:tc>
              </a:tr>
              <a:tr h="396240">
                <a:tc vMerge="1"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Global GAP</a:t>
                      </a:r>
                      <a:endParaRPr lang="id-ID" sz="28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91439" marR="91439" marT="45724" marB="45724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/>
                        <a:t>Asia GAP</a:t>
                      </a:r>
                      <a:endParaRPr lang="id-ID" sz="2800" b="1" dirty="0"/>
                    </a:p>
                  </a:txBody>
                  <a:tcPr marL="91439" marR="91439" marT="45724" marB="45724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/>
                        <a:t>ASEAN GAP</a:t>
                      </a:r>
                      <a:endParaRPr lang="id-ID" sz="2800" b="1" dirty="0"/>
                    </a:p>
                  </a:txBody>
                  <a:tcPr marL="91439" marR="91439" marT="45724" marB="45724">
                    <a:solidFill>
                      <a:srgbClr val="FFFF99"/>
                    </a:solidFill>
                  </a:tcPr>
                </a:tc>
              </a:tr>
            </a:tbl>
          </a:graphicData>
        </a:graphic>
      </p:graphicFrame>
      <p:sp>
        <p:nvSpPr>
          <p:cNvPr id="37913" name="Rectangle 14"/>
          <p:cNvSpPr>
            <a:spLocks noChangeArrowheads="1"/>
          </p:cNvSpPr>
          <p:nvPr/>
        </p:nvSpPr>
        <p:spPr bwMode="auto">
          <a:xfrm>
            <a:off x="318811" y="1775451"/>
            <a:ext cx="4572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</a:pPr>
            <a:r>
              <a:rPr lang="id-ID" altLang="id-ID" b="1" i="1" dirty="0">
                <a:solidFill>
                  <a:srgbClr val="FF0000"/>
                </a:solidFill>
                <a:latin typeface="Baskerville Old Face" panose="02020602080505020303" pitchFamily="18" charset="0"/>
              </a:rPr>
              <a:t>menuju  Benchmarking  ............................. </a:t>
            </a:r>
            <a:endParaRPr lang="id-ID" altLang="id-ID" b="1" i="1" dirty="0">
              <a:solidFill>
                <a:srgbClr val="FF0000"/>
              </a:solidFill>
              <a:latin typeface="Baskerville Old Face" panose="02020602080505020303" pitchFamily="18" charset="0"/>
            </a:endParaRPr>
          </a:p>
        </p:txBody>
      </p:sp>
      <p:sp>
        <p:nvSpPr>
          <p:cNvPr id="37890" name="Rectangle 7"/>
          <p:cNvSpPr>
            <a:spLocks noChangeArrowheads="1"/>
          </p:cNvSpPr>
          <p:nvPr/>
        </p:nvSpPr>
        <p:spPr bwMode="auto">
          <a:xfrm>
            <a:off x="336175" y="2682919"/>
            <a:ext cx="1334268" cy="151769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</a:pPr>
            <a:endParaRPr lang="id-ID" altLang="id-ID" sz="3200" b="1"/>
          </a:p>
        </p:txBody>
      </p:sp>
      <p:sp>
        <p:nvSpPr>
          <p:cNvPr id="7" name="TextBox 6"/>
          <p:cNvSpPr txBox="1"/>
          <p:nvPr/>
        </p:nvSpPr>
        <p:spPr>
          <a:xfrm rot="16200000">
            <a:off x="253737" y="2832332"/>
            <a:ext cx="1499148" cy="120032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3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Indo GAP</a:t>
            </a:r>
            <a:endParaRPr lang="id-ID" sz="3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9" name="Sun 8"/>
          <p:cNvSpPr/>
          <p:nvPr/>
        </p:nvSpPr>
        <p:spPr bwMode="auto">
          <a:xfrm>
            <a:off x="1418344" y="2834687"/>
            <a:ext cx="281553" cy="151770"/>
          </a:xfrm>
          <a:prstGeom prst="sun">
            <a:avLst/>
          </a:prstGeom>
          <a:solidFill>
            <a:schemeClr val="accent5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endParaRPr lang="id-ID" sz="3200" b="1"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10" name="Sun 9"/>
          <p:cNvSpPr/>
          <p:nvPr/>
        </p:nvSpPr>
        <p:spPr bwMode="auto">
          <a:xfrm>
            <a:off x="1418344" y="3897076"/>
            <a:ext cx="281553" cy="151770"/>
          </a:xfrm>
          <a:prstGeom prst="sun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endParaRPr lang="id-ID" sz="3200" b="1"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37909" name="Sun 10"/>
          <p:cNvSpPr>
            <a:spLocks noChangeArrowheads="1"/>
          </p:cNvSpPr>
          <p:nvPr/>
        </p:nvSpPr>
        <p:spPr bwMode="auto">
          <a:xfrm>
            <a:off x="1418344" y="3365881"/>
            <a:ext cx="281553" cy="151770"/>
          </a:xfrm>
          <a:prstGeom prst="sun">
            <a:avLst>
              <a:gd name="adj" fmla="val 25000"/>
            </a:avLst>
          </a:prstGeom>
          <a:solidFill>
            <a:srgbClr val="FFFF00"/>
          </a:solidFill>
          <a:ln w="9525" algn="ctr">
            <a:solidFill>
              <a:schemeClr val="tx1"/>
            </a:solidFill>
            <a:round/>
          </a:ln>
        </p:spPr>
        <p:txBody>
          <a:bodyPr/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</a:pPr>
            <a:endParaRPr lang="id-ID" altLang="id-ID" sz="3200" b="1"/>
          </a:p>
        </p:txBody>
      </p:sp>
      <p:sp>
        <p:nvSpPr>
          <p:cNvPr id="12" name="TextBox 11"/>
          <p:cNvSpPr txBox="1"/>
          <p:nvPr/>
        </p:nvSpPr>
        <p:spPr>
          <a:xfrm>
            <a:off x="2544548" y="2151725"/>
            <a:ext cx="1745064" cy="101566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20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Manajemen Sistem &amp; Registrasi</a:t>
            </a:r>
            <a:endParaRPr lang="id-ID" sz="20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54975" y="3350726"/>
            <a:ext cx="1745064" cy="126188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19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Manajemen Teknologi dan Lingkungan</a:t>
            </a:r>
            <a:endParaRPr lang="id-ID" sz="19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34120" y="4743151"/>
            <a:ext cx="1765920" cy="969496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19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Manajemen SDM &amp; Kelembagaan </a:t>
            </a:r>
            <a:endParaRPr lang="id-ID" sz="19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cxnSp>
        <p:nvCxnSpPr>
          <p:cNvPr id="37914" name="Straight Connector 16"/>
          <p:cNvCxnSpPr>
            <a:cxnSpLocks noChangeShapeType="1"/>
            <a:stCxn id="9" idx="3"/>
            <a:endCxn id="12" idx="1"/>
          </p:cNvCxnSpPr>
          <p:nvPr/>
        </p:nvCxnSpPr>
        <p:spPr bwMode="auto">
          <a:xfrm flipV="1">
            <a:off x="1699897" y="2659557"/>
            <a:ext cx="844651" cy="25101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915" name="Straight Connector 18"/>
          <p:cNvCxnSpPr>
            <a:cxnSpLocks noChangeShapeType="1"/>
            <a:stCxn id="37909" idx="3"/>
            <a:endCxn id="13" idx="1"/>
          </p:cNvCxnSpPr>
          <p:nvPr/>
        </p:nvCxnSpPr>
        <p:spPr bwMode="auto">
          <a:xfrm>
            <a:off x="1699897" y="3441766"/>
            <a:ext cx="855078" cy="539902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916" name="Straight Connector 19"/>
          <p:cNvCxnSpPr>
            <a:cxnSpLocks noChangeShapeType="1"/>
            <a:stCxn id="10" idx="3"/>
            <a:endCxn id="14" idx="1"/>
          </p:cNvCxnSpPr>
          <p:nvPr/>
        </p:nvCxnSpPr>
        <p:spPr bwMode="auto">
          <a:xfrm>
            <a:off x="1699897" y="3972961"/>
            <a:ext cx="834223" cy="125493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" name="TextBox 26"/>
          <p:cNvSpPr txBox="1"/>
          <p:nvPr/>
        </p:nvSpPr>
        <p:spPr>
          <a:xfrm>
            <a:off x="4890809" y="1933220"/>
            <a:ext cx="2247515" cy="400110"/>
          </a:xfrm>
          <a:prstGeom prst="rect">
            <a:avLst/>
          </a:prstGeom>
          <a:solidFill>
            <a:srgbClr val="66CCFF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2000" b="1" dirty="0">
                <a:solidFill>
                  <a:schemeClr val="tx2"/>
                </a:solidFill>
              </a:rPr>
              <a:t>Identifikasi CPCL</a:t>
            </a:r>
            <a:endParaRPr lang="id-ID" sz="2000" b="1" dirty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890809" y="2322764"/>
            <a:ext cx="2247515" cy="400110"/>
          </a:xfrm>
          <a:prstGeom prst="rect">
            <a:avLst/>
          </a:prstGeom>
          <a:solidFill>
            <a:srgbClr val="FF99CC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2000" b="1" dirty="0">
                <a:solidFill>
                  <a:schemeClr val="tx2"/>
                </a:solidFill>
              </a:rPr>
              <a:t>Penilaian GAP</a:t>
            </a:r>
            <a:endParaRPr lang="id-ID" sz="2000" b="1" dirty="0">
              <a:solidFill>
                <a:schemeClr val="tx2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890814" y="2692074"/>
            <a:ext cx="2256313" cy="400110"/>
          </a:xfrm>
          <a:prstGeom prst="rect">
            <a:avLst/>
          </a:prstGeom>
          <a:solidFill>
            <a:srgbClr val="66CCFF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2000" b="1" dirty="0">
                <a:solidFill>
                  <a:schemeClr val="tx2"/>
                </a:solidFill>
              </a:rPr>
              <a:t>  Registrasi Kebun</a:t>
            </a:r>
            <a:endParaRPr lang="id-ID" sz="2000" b="1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029531" y="3659925"/>
            <a:ext cx="1059906" cy="584775"/>
          </a:xfrm>
          <a:prstGeom prst="rect">
            <a:avLst/>
          </a:prstGeom>
          <a:solidFill>
            <a:srgbClr val="FF0000"/>
          </a:solidFill>
          <a:ln>
            <a:solidFill>
              <a:srgbClr val="FFC000"/>
            </a:solidFill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3200" b="1" dirty="0">
                <a:solidFill>
                  <a:schemeClr val="bg1"/>
                </a:solidFill>
              </a:rPr>
              <a:t>S O P</a:t>
            </a:r>
            <a:endParaRPr lang="id-ID" sz="3200" b="1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147127" y="3232963"/>
            <a:ext cx="1122340" cy="338554"/>
          </a:xfrm>
          <a:prstGeom prst="rect">
            <a:avLst/>
          </a:prstGeom>
          <a:solidFill>
            <a:srgbClr val="E8F725"/>
          </a:solidFill>
          <a:ln>
            <a:solidFill>
              <a:srgbClr val="E8F725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angle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1600" b="1" dirty="0">
                <a:solidFill>
                  <a:schemeClr val="tx2"/>
                </a:solidFill>
              </a:rPr>
              <a:t>MODUL 1</a:t>
            </a:r>
            <a:endParaRPr lang="id-ID" sz="1600" b="1" dirty="0">
              <a:solidFill>
                <a:schemeClr val="tx2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147127" y="3691647"/>
            <a:ext cx="1122340" cy="338554"/>
          </a:xfrm>
          <a:prstGeom prst="rect">
            <a:avLst/>
          </a:prstGeom>
          <a:solidFill>
            <a:srgbClr val="E8F725"/>
          </a:solidFill>
          <a:ln>
            <a:solidFill>
              <a:srgbClr val="E8F725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angle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1600" b="1" dirty="0">
                <a:solidFill>
                  <a:schemeClr val="tx2"/>
                </a:solidFill>
              </a:rPr>
              <a:t>MODUL  2</a:t>
            </a:r>
            <a:endParaRPr lang="id-ID" sz="1600" b="1" dirty="0">
              <a:solidFill>
                <a:schemeClr val="tx2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147127" y="4121791"/>
            <a:ext cx="1122340" cy="338554"/>
          </a:xfrm>
          <a:prstGeom prst="rect">
            <a:avLst/>
          </a:prstGeom>
          <a:solidFill>
            <a:srgbClr val="E8F725"/>
          </a:solidFill>
          <a:ln>
            <a:solidFill>
              <a:srgbClr val="E8F725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angle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1600" b="1" dirty="0">
                <a:solidFill>
                  <a:schemeClr val="tx2"/>
                </a:solidFill>
              </a:rPr>
              <a:t>MODUL  3</a:t>
            </a:r>
            <a:endParaRPr lang="id-ID" sz="1600" b="1" dirty="0">
              <a:solidFill>
                <a:schemeClr val="tx2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138327" y="4588854"/>
            <a:ext cx="1543460" cy="369331"/>
          </a:xfrm>
          <a:prstGeom prst="rect">
            <a:avLst/>
          </a:prstGeom>
          <a:solidFill>
            <a:schemeClr val="accent3">
              <a:lumMod val="85000"/>
            </a:schemeClr>
          </a:solidFill>
          <a:ln>
            <a:solidFill>
              <a:schemeClr val="accent1">
                <a:lumMod val="50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angle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b="1" dirty="0">
                <a:solidFill>
                  <a:schemeClr val="tx2"/>
                </a:solidFill>
              </a:rPr>
              <a:t>OKKP-P</a:t>
            </a:r>
            <a:endParaRPr lang="id-ID" b="1" dirty="0">
              <a:solidFill>
                <a:schemeClr val="tx2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147127" y="5055641"/>
            <a:ext cx="1534663" cy="369331"/>
          </a:xfrm>
          <a:prstGeom prst="rect">
            <a:avLst/>
          </a:prstGeom>
          <a:solidFill>
            <a:schemeClr val="accent3">
              <a:lumMod val="85000"/>
            </a:schemeClr>
          </a:solidFill>
          <a:ln>
            <a:solidFill>
              <a:schemeClr val="accent1">
                <a:lumMod val="50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angle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b="1" dirty="0">
                <a:solidFill>
                  <a:schemeClr val="tx2"/>
                </a:solidFill>
              </a:rPr>
              <a:t>OKKP-D</a:t>
            </a:r>
            <a:endParaRPr lang="id-ID" b="1" dirty="0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196553" y="5679634"/>
            <a:ext cx="1485235" cy="369332"/>
          </a:xfrm>
          <a:prstGeom prst="rect">
            <a:avLst/>
          </a:prstGeom>
          <a:solidFill>
            <a:schemeClr val="accent3">
              <a:lumMod val="85000"/>
            </a:schemeClr>
          </a:solidFill>
          <a:ln>
            <a:solidFill>
              <a:schemeClr val="accent1">
                <a:lumMod val="50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angle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b="1" dirty="0">
                <a:solidFill>
                  <a:schemeClr val="tx2"/>
                </a:solidFill>
              </a:rPr>
              <a:t>Kelomp. Tani</a:t>
            </a:r>
            <a:endParaRPr lang="id-ID" b="1" dirty="0">
              <a:solidFill>
                <a:schemeClr val="tx2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592837" y="5973295"/>
            <a:ext cx="1960187" cy="707886"/>
          </a:xfrm>
          <a:prstGeom prst="rect">
            <a:avLst/>
          </a:prstGeom>
          <a:solidFill>
            <a:srgbClr val="99FF33"/>
          </a:solidFill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20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TEKNOLOGI BUDIDAYA</a:t>
            </a:r>
            <a:endParaRPr lang="id-ID" sz="20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37948" name="TextBox 38"/>
          <p:cNvSpPr txBox="1">
            <a:spLocks noChangeArrowheads="1"/>
          </p:cNvSpPr>
          <p:nvPr/>
        </p:nvSpPr>
        <p:spPr bwMode="auto">
          <a:xfrm>
            <a:off x="1418339" y="5864296"/>
            <a:ext cx="23732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</a:pPr>
            <a:r>
              <a:rPr lang="id-ID" altLang="id-ID" sz="2000" b="1" dirty="0">
                <a:solidFill>
                  <a:schemeClr val="tx2"/>
                </a:solidFill>
              </a:rPr>
              <a:t>Penerapan GAP/SOP</a:t>
            </a:r>
            <a:endParaRPr lang="id-ID" altLang="id-ID" sz="2000" b="1" dirty="0">
              <a:solidFill>
                <a:schemeClr val="tx2"/>
              </a:solidFill>
            </a:endParaRPr>
          </a:p>
        </p:txBody>
      </p:sp>
      <p:cxnSp>
        <p:nvCxnSpPr>
          <p:cNvPr id="37949" name="Shape 44"/>
          <p:cNvCxnSpPr>
            <a:cxnSpLocks noChangeShapeType="1"/>
            <a:stCxn id="38" idx="1"/>
            <a:endCxn id="37890" idx="2"/>
          </p:cNvCxnSpPr>
          <p:nvPr/>
        </p:nvCxnSpPr>
        <p:spPr bwMode="auto">
          <a:xfrm rot="10800000">
            <a:off x="1003309" y="4200618"/>
            <a:ext cx="3589528" cy="2126621"/>
          </a:xfrm>
          <a:prstGeom prst="bentConnector2">
            <a:avLst/>
          </a:prstGeom>
          <a:noFill/>
          <a:ln w="25400" algn="ctr">
            <a:solidFill>
              <a:schemeClr val="tx1">
                <a:lumMod val="95000"/>
                <a:lumOff val="5000"/>
              </a:schemeClr>
            </a:solidFill>
            <a:rou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6" name="TextBox 45"/>
          <p:cNvSpPr txBox="1"/>
          <p:nvPr/>
        </p:nvSpPr>
        <p:spPr>
          <a:xfrm>
            <a:off x="9505224" y="3283587"/>
            <a:ext cx="2328189" cy="954107"/>
          </a:xfrm>
          <a:prstGeom prst="rect">
            <a:avLst/>
          </a:prstGeom>
          <a:solidFill>
            <a:srgbClr val="FF66CC"/>
          </a:solidFill>
          <a:ln>
            <a:solidFill>
              <a:srgbClr val="FFC000"/>
            </a:solidFill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2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RTIFIKASI</a:t>
            </a:r>
            <a:endParaRPr lang="id-ID" sz="28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r>
              <a:rPr lang="id-ID" sz="2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IMA</a:t>
            </a:r>
            <a:endParaRPr lang="id-ID" sz="28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cxnSp>
        <p:nvCxnSpPr>
          <p:cNvPr id="37953" name="Straight Arrow Connector 49"/>
          <p:cNvCxnSpPr>
            <a:cxnSpLocks noChangeShapeType="1"/>
            <a:stCxn id="12" idx="3"/>
          </p:cNvCxnSpPr>
          <p:nvPr/>
        </p:nvCxnSpPr>
        <p:spPr bwMode="auto">
          <a:xfrm flipV="1">
            <a:off x="4289612" y="2080906"/>
            <a:ext cx="601208" cy="578651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954" name="Straight Arrow Connector 50"/>
          <p:cNvCxnSpPr>
            <a:cxnSpLocks noChangeShapeType="1"/>
            <a:stCxn id="12" idx="3"/>
          </p:cNvCxnSpPr>
          <p:nvPr/>
        </p:nvCxnSpPr>
        <p:spPr bwMode="auto">
          <a:xfrm>
            <a:off x="4289612" y="2659557"/>
            <a:ext cx="601208" cy="18019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955" name="Straight Arrow Connector 51"/>
          <p:cNvCxnSpPr>
            <a:cxnSpLocks noChangeShapeType="1"/>
            <a:stCxn id="12" idx="3"/>
          </p:cNvCxnSpPr>
          <p:nvPr/>
        </p:nvCxnSpPr>
        <p:spPr bwMode="auto">
          <a:xfrm flipV="1">
            <a:off x="4289612" y="2470447"/>
            <a:ext cx="601208" cy="18911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956" name="Straight Arrow Connector 57"/>
          <p:cNvCxnSpPr>
            <a:cxnSpLocks noChangeShapeType="1"/>
            <a:stCxn id="13" idx="3"/>
          </p:cNvCxnSpPr>
          <p:nvPr/>
        </p:nvCxnSpPr>
        <p:spPr bwMode="auto">
          <a:xfrm flipV="1">
            <a:off x="4300039" y="3972965"/>
            <a:ext cx="716044" cy="870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957" name="Straight Arrow Connector 60"/>
          <p:cNvCxnSpPr>
            <a:cxnSpLocks noChangeShapeType="1"/>
          </p:cNvCxnSpPr>
          <p:nvPr/>
        </p:nvCxnSpPr>
        <p:spPr bwMode="auto">
          <a:xfrm>
            <a:off x="4300043" y="5248982"/>
            <a:ext cx="2838284" cy="457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958" name="Freeform 70"/>
          <p:cNvSpPr>
            <a:spLocks noChangeArrowheads="1"/>
          </p:cNvSpPr>
          <p:nvPr/>
        </p:nvSpPr>
        <p:spPr bwMode="auto">
          <a:xfrm>
            <a:off x="6553024" y="4773514"/>
            <a:ext cx="573453" cy="927512"/>
          </a:xfrm>
          <a:custGeom>
            <a:avLst/>
            <a:gdLst>
              <a:gd name="T0" fmla="*/ 358024 w 362138"/>
              <a:gd name="T1" fmla="*/ 0 h 733331"/>
              <a:gd name="T2" fmla="*/ 0 w 362138"/>
              <a:gd name="T3" fmla="*/ 0 h 733331"/>
              <a:gd name="T4" fmla="*/ 8943 w 362138"/>
              <a:gd name="T5" fmla="*/ 735399 h 733331"/>
              <a:gd name="T6" fmla="*/ 349075 w 362138"/>
              <a:gd name="T7" fmla="*/ 735399 h 733331"/>
              <a:gd name="T8" fmla="*/ 0 60000 65536"/>
              <a:gd name="T9" fmla="*/ 0 60000 65536"/>
              <a:gd name="T10" fmla="*/ 0 60000 65536"/>
              <a:gd name="T11" fmla="*/ 0 60000 65536"/>
              <a:gd name="T12" fmla="*/ 0 w 362138"/>
              <a:gd name="T13" fmla="*/ 0 h 733331"/>
              <a:gd name="T14" fmla="*/ 362138 w 362138"/>
              <a:gd name="T15" fmla="*/ 733331 h 7333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62138" h="733331">
                <a:moveTo>
                  <a:pt x="362138" y="0"/>
                </a:moveTo>
                <a:lnTo>
                  <a:pt x="0" y="0"/>
                </a:lnTo>
                <a:lnTo>
                  <a:pt x="9053" y="733331"/>
                </a:lnTo>
                <a:lnTo>
                  <a:pt x="353085" y="733331"/>
                </a:lnTo>
              </a:path>
            </a:pathLst>
          </a:cu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ID" sz="3200"/>
          </a:p>
        </p:txBody>
      </p:sp>
      <p:sp>
        <p:nvSpPr>
          <p:cNvPr id="37959" name="Freeform 72"/>
          <p:cNvSpPr>
            <a:spLocks noChangeArrowheads="1"/>
          </p:cNvSpPr>
          <p:nvPr/>
        </p:nvSpPr>
        <p:spPr bwMode="auto">
          <a:xfrm>
            <a:off x="6553025" y="3416474"/>
            <a:ext cx="585303" cy="874593"/>
          </a:xfrm>
          <a:custGeom>
            <a:avLst/>
            <a:gdLst>
              <a:gd name="T0" fmla="*/ 394219 w 362138"/>
              <a:gd name="T1" fmla="*/ 0 h 733331"/>
              <a:gd name="T2" fmla="*/ 0 w 362138"/>
              <a:gd name="T3" fmla="*/ 0 h 733331"/>
              <a:gd name="T4" fmla="*/ 9856 w 362138"/>
              <a:gd name="T5" fmla="*/ 735399 h 733331"/>
              <a:gd name="T6" fmla="*/ 384367 w 362138"/>
              <a:gd name="T7" fmla="*/ 735399 h 733331"/>
              <a:gd name="T8" fmla="*/ 0 60000 65536"/>
              <a:gd name="T9" fmla="*/ 0 60000 65536"/>
              <a:gd name="T10" fmla="*/ 0 60000 65536"/>
              <a:gd name="T11" fmla="*/ 0 60000 65536"/>
              <a:gd name="T12" fmla="*/ 0 w 362138"/>
              <a:gd name="T13" fmla="*/ 0 h 733331"/>
              <a:gd name="T14" fmla="*/ 362138 w 362138"/>
              <a:gd name="T15" fmla="*/ 733331 h 7333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62138" h="733331">
                <a:moveTo>
                  <a:pt x="362138" y="0"/>
                </a:moveTo>
                <a:lnTo>
                  <a:pt x="0" y="0"/>
                </a:lnTo>
                <a:lnTo>
                  <a:pt x="9053" y="733331"/>
                </a:lnTo>
                <a:lnTo>
                  <a:pt x="353085" y="733331"/>
                </a:lnTo>
              </a:path>
            </a:pathLst>
          </a:cu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ID" sz="3200"/>
          </a:p>
        </p:txBody>
      </p:sp>
      <p:cxnSp>
        <p:nvCxnSpPr>
          <p:cNvPr id="37960" name="Straight Arrow Connector 75"/>
          <p:cNvCxnSpPr>
            <a:cxnSpLocks noChangeShapeType="1"/>
            <a:endCxn id="33" idx="1"/>
          </p:cNvCxnSpPr>
          <p:nvPr/>
        </p:nvCxnSpPr>
        <p:spPr bwMode="auto">
          <a:xfrm>
            <a:off x="6128891" y="3860924"/>
            <a:ext cx="1018236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962" name="Right Brace 81"/>
          <p:cNvSpPr/>
          <p:nvPr/>
        </p:nvSpPr>
        <p:spPr bwMode="auto">
          <a:xfrm>
            <a:off x="8363301" y="3416471"/>
            <a:ext cx="375403" cy="834734"/>
          </a:xfrm>
          <a:prstGeom prst="rightBrace">
            <a:avLst>
              <a:gd name="adj1" fmla="val 8339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</a:pPr>
            <a:endParaRPr lang="id-ID" altLang="id-ID" sz="3200" b="1"/>
          </a:p>
        </p:txBody>
      </p:sp>
      <p:sp>
        <p:nvSpPr>
          <p:cNvPr id="37963" name="Freeform 88"/>
          <p:cNvSpPr>
            <a:spLocks noChangeArrowheads="1"/>
          </p:cNvSpPr>
          <p:nvPr/>
        </p:nvSpPr>
        <p:spPr bwMode="auto">
          <a:xfrm>
            <a:off x="7226701" y="2470446"/>
            <a:ext cx="3389059" cy="764549"/>
          </a:xfrm>
          <a:custGeom>
            <a:avLst/>
            <a:gdLst>
              <a:gd name="T0" fmla="*/ 0 w 2797521"/>
              <a:gd name="T1" fmla="*/ 0 h 262550"/>
              <a:gd name="T2" fmla="*/ 828526 w 2797521"/>
              <a:gd name="T3" fmla="*/ 0 h 262550"/>
              <a:gd name="T4" fmla="*/ 828526 w 2797521"/>
              <a:gd name="T5" fmla="*/ 88604 h 262550"/>
              <a:gd name="T6" fmla="*/ 0 60000 65536"/>
              <a:gd name="T7" fmla="*/ 0 60000 65536"/>
              <a:gd name="T8" fmla="*/ 0 60000 65536"/>
              <a:gd name="T9" fmla="*/ 0 w 2797521"/>
              <a:gd name="T10" fmla="*/ 0 h 262550"/>
              <a:gd name="T11" fmla="*/ 2797521 w 2797521"/>
              <a:gd name="T12" fmla="*/ 262550 h 26255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797521" h="262550">
                <a:moveTo>
                  <a:pt x="0" y="0"/>
                </a:moveTo>
                <a:lnTo>
                  <a:pt x="2797521" y="0"/>
                </a:lnTo>
                <a:lnTo>
                  <a:pt x="2797521" y="262550"/>
                </a:lnTo>
              </a:path>
            </a:pathLst>
          </a:custGeom>
          <a:noFill/>
          <a:ln w="28575" algn="ctr">
            <a:solidFill>
              <a:srgbClr val="339933"/>
            </a:solidFill>
            <a:rou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ID" sz="3200"/>
          </a:p>
        </p:txBody>
      </p:sp>
      <p:cxnSp>
        <p:nvCxnSpPr>
          <p:cNvPr id="37965" name="Straight Arrow Connector 97"/>
          <p:cNvCxnSpPr>
            <a:cxnSpLocks noChangeShapeType="1"/>
          </p:cNvCxnSpPr>
          <p:nvPr/>
        </p:nvCxnSpPr>
        <p:spPr bwMode="auto">
          <a:xfrm flipV="1">
            <a:off x="5538449" y="4291070"/>
            <a:ext cx="0" cy="1682229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prstDash val="lgDash"/>
            <a:rou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8" name="Straight Arrow Connector 75"/>
          <p:cNvCxnSpPr>
            <a:cxnSpLocks noChangeShapeType="1"/>
            <a:stCxn id="37962" idx="1"/>
          </p:cNvCxnSpPr>
          <p:nvPr/>
        </p:nvCxnSpPr>
        <p:spPr bwMode="auto">
          <a:xfrm flipV="1">
            <a:off x="8738704" y="3826493"/>
            <a:ext cx="766517" cy="7347"/>
          </a:xfrm>
          <a:prstGeom prst="straightConnector1">
            <a:avLst/>
          </a:prstGeom>
          <a:noFill/>
          <a:ln w="28575" algn="ctr">
            <a:solidFill>
              <a:srgbClr val="00B050"/>
            </a:solidFill>
            <a:rou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0" name="Rectangle 109"/>
          <p:cNvSpPr/>
          <p:nvPr/>
        </p:nvSpPr>
        <p:spPr>
          <a:xfrm>
            <a:off x="134472" y="6730860"/>
            <a:ext cx="11810957" cy="107722"/>
          </a:xfrm>
          <a:prstGeom prst="rect">
            <a:avLst/>
          </a:prstGeom>
          <a:solidFill>
            <a:srgbClr val="FF99FF"/>
          </a:solidFill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1" hangingPunct="1">
              <a:buClr>
                <a:srgbClr val="000000"/>
              </a:buClr>
              <a:buSzPct val="100000"/>
              <a:buFont typeface="Times New Roman" panose="02020603050405020304" pitchFamily="16" charset="0"/>
              <a:buNone/>
              <a:defRPr/>
            </a:pPr>
            <a:endParaRPr lang="en-US" sz="100" b="1" spc="50" dirty="0">
              <a:ln w="11430"/>
              <a:solidFill>
                <a:schemeClr val="tx1">
                  <a:lumMod val="85000"/>
                  <a:lumOff val="15000"/>
                </a:schemeClr>
              </a:solidFill>
              <a:latin typeface="Aharoni" pitchFamily="2" charset="-79"/>
              <a:ea typeface="SimSun" panose="02010600030101010101" pitchFamily="2" charset="-122"/>
              <a:cs typeface="Aharoni" pitchFamily="2" charset="-79"/>
            </a:endParaRPr>
          </a:p>
        </p:txBody>
      </p:sp>
      <p:pic>
        <p:nvPicPr>
          <p:cNvPr id="111" name="Picture 2" descr="http://okkpd.pertanian.jatimprov.go.id/wp-content/uploads/2016/02/Prima1.png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7641" y="4779835"/>
            <a:ext cx="2085771" cy="1338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2" descr="SmartArt graphic"/>
          <p:cNvGraphicFramePr>
            <a:graphicFrameLocks noGrp="1"/>
          </p:cNvGraphicFramePr>
          <p:nvPr>
            <p:ph idx="1"/>
          </p:nvPr>
        </p:nvGraphicFramePr>
        <p:xfrm>
          <a:off x="1066800" y="2310063"/>
          <a:ext cx="10058400" cy="37256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32740" y="346725"/>
            <a:ext cx="11783669" cy="1384995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en-ID" sz="2800" b="1" dirty="0"/>
              <a:t>PERATURAN MENTERI PERTANIAN REPUBLIK INDONESIA </a:t>
            </a:r>
            <a:endParaRPr lang="en-ID" sz="2800" b="1" dirty="0"/>
          </a:p>
          <a:p>
            <a:pPr algn="ctr"/>
            <a:r>
              <a:rPr lang="en-ID" sz="2800" b="1" dirty="0"/>
              <a:t>NOMOR 22 TAHUN 2021 </a:t>
            </a:r>
            <a:endParaRPr lang="en-ID" sz="2800" b="1" dirty="0"/>
          </a:p>
          <a:p>
            <a:pPr algn="ctr"/>
            <a:r>
              <a:rPr lang="en-ID" sz="2800" b="1" dirty="0"/>
              <a:t>TENTANG PRAKTIK HORTIKULTURA YANG BAIK</a:t>
            </a:r>
            <a:endParaRPr lang="en-ID" sz="2800" b="1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642594"/>
            <a:ext cx="10058400" cy="1371600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ACUAN PERMENTAN PRAKTIK HORTIKULTURA YANG BAIK</a:t>
            </a:r>
            <a:endParaRPr lang="en-US" dirty="0"/>
          </a:p>
        </p:txBody>
      </p:sp>
      <p:graphicFrame>
        <p:nvGraphicFramePr>
          <p:cNvPr id="5" name="Content Placeholder 2" descr="SmartArt graphic"/>
          <p:cNvGraphicFramePr>
            <a:graphicFrameLocks noGrp="1"/>
          </p:cNvGraphicFramePr>
          <p:nvPr>
            <p:ph idx="1"/>
          </p:nvPr>
        </p:nvGraphicFramePr>
        <p:xfrm>
          <a:off x="1066800" y="2310063"/>
          <a:ext cx="10058400" cy="37256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2858" y="994629"/>
            <a:ext cx="2947482" cy="460118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/>
          <a:p>
            <a:pPr algn="ctr"/>
            <a:r>
              <a:rPr lang="en-ID" b="1" dirty="0">
                <a:solidFill>
                  <a:schemeClr val="tx1"/>
                </a:solidFill>
              </a:rPr>
              <a:t>STRUKTUR PERMENTAN</a:t>
            </a:r>
            <a:endParaRPr lang="en-ID" b="1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9998" y="734900"/>
            <a:ext cx="7799271" cy="5120640"/>
          </a:xfrm>
          <a:solidFill>
            <a:schemeClr val="accent4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357505" indent="-357505">
              <a:buFont typeface="Wingdings" panose="05000000000000000000" pitchFamily="2" charset="2"/>
              <a:buChar char="q"/>
            </a:pPr>
            <a:r>
              <a:rPr lang="en-ID" sz="2400" b="1" dirty="0">
                <a:solidFill>
                  <a:schemeClr val="tx1"/>
                </a:solidFill>
              </a:rPr>
              <a:t>BAB I KETENTUAN UMUM</a:t>
            </a:r>
            <a:endParaRPr lang="en-ID" sz="2400" b="1" dirty="0">
              <a:solidFill>
                <a:schemeClr val="tx1"/>
              </a:solidFill>
            </a:endParaRPr>
          </a:p>
          <a:p>
            <a:pPr marL="357505" indent="-357505">
              <a:buFont typeface="Wingdings" panose="05000000000000000000" pitchFamily="2" charset="2"/>
              <a:buChar char="q"/>
            </a:pPr>
            <a:r>
              <a:rPr lang="en-ID" sz="2400" b="1" dirty="0">
                <a:solidFill>
                  <a:schemeClr val="tx1"/>
                </a:solidFill>
              </a:rPr>
              <a:t>BAB II BUDIDAYA, PANEN DAN PASCAPANEN YANG BAIK</a:t>
            </a:r>
            <a:endParaRPr lang="en-ID" sz="2400" b="1" dirty="0">
              <a:solidFill>
                <a:schemeClr val="tx1"/>
              </a:solidFill>
            </a:endParaRPr>
          </a:p>
          <a:p>
            <a:pPr marL="447675" indent="0">
              <a:buNone/>
            </a:pPr>
            <a:r>
              <a:rPr lang="en-ID" sz="2400" b="1" dirty="0">
                <a:solidFill>
                  <a:schemeClr val="tx1"/>
                </a:solidFill>
              </a:rPr>
              <a:t>Bagian </a:t>
            </a:r>
            <a:r>
              <a:rPr lang="en-ID" sz="2400" b="1" dirty="0" err="1">
                <a:solidFill>
                  <a:schemeClr val="tx1"/>
                </a:solidFill>
              </a:rPr>
              <a:t>Kesatu</a:t>
            </a:r>
            <a:r>
              <a:rPr lang="en-ID" sz="2400" b="1" dirty="0">
                <a:solidFill>
                  <a:schemeClr val="tx1"/>
                </a:solidFill>
              </a:rPr>
              <a:t> </a:t>
            </a:r>
            <a:r>
              <a:rPr lang="en-ID" sz="2400" b="1" dirty="0" err="1">
                <a:solidFill>
                  <a:schemeClr val="tx1"/>
                </a:solidFill>
              </a:rPr>
              <a:t>Umum</a:t>
            </a:r>
            <a:r>
              <a:rPr lang="en-ID" sz="2400" b="1" dirty="0">
                <a:solidFill>
                  <a:schemeClr val="tx1"/>
                </a:solidFill>
              </a:rPr>
              <a:t> : </a:t>
            </a:r>
            <a:r>
              <a:rPr lang="en-ID" sz="2400" b="1" dirty="0" err="1">
                <a:solidFill>
                  <a:schemeClr val="tx1"/>
                </a:solidFill>
              </a:rPr>
              <a:t>Pencatatan</a:t>
            </a:r>
            <a:r>
              <a:rPr lang="en-ID" sz="2400" b="1" dirty="0">
                <a:solidFill>
                  <a:schemeClr val="tx1"/>
                </a:solidFill>
              </a:rPr>
              <a:t> dan </a:t>
            </a:r>
            <a:r>
              <a:rPr lang="en-ID" sz="2400" b="1" dirty="0" err="1">
                <a:solidFill>
                  <a:schemeClr val="tx1"/>
                </a:solidFill>
              </a:rPr>
              <a:t>Dokumentasi</a:t>
            </a:r>
            <a:endParaRPr lang="en-ID" sz="2400" b="1" dirty="0">
              <a:solidFill>
                <a:schemeClr val="tx1"/>
              </a:solidFill>
            </a:endParaRPr>
          </a:p>
          <a:p>
            <a:pPr marL="447675" indent="0">
              <a:buNone/>
            </a:pPr>
            <a:r>
              <a:rPr lang="en-ID" sz="2400" b="1" dirty="0">
                <a:solidFill>
                  <a:schemeClr val="tx1"/>
                </a:solidFill>
              </a:rPr>
              <a:t>Bagian </a:t>
            </a:r>
            <a:r>
              <a:rPr lang="en-ID" sz="2400" b="1" dirty="0" err="1">
                <a:solidFill>
                  <a:schemeClr val="tx1"/>
                </a:solidFill>
              </a:rPr>
              <a:t>Kedua</a:t>
            </a:r>
            <a:r>
              <a:rPr lang="en-ID" sz="2400" b="1" dirty="0">
                <a:solidFill>
                  <a:schemeClr val="tx1"/>
                </a:solidFill>
              </a:rPr>
              <a:t> </a:t>
            </a:r>
            <a:r>
              <a:rPr lang="en-ID" sz="2400" b="1" dirty="0" err="1">
                <a:solidFill>
                  <a:schemeClr val="tx1"/>
                </a:solidFill>
              </a:rPr>
              <a:t>Budidaya</a:t>
            </a:r>
            <a:endParaRPr lang="en-ID" sz="2400" b="1" dirty="0">
              <a:solidFill>
                <a:schemeClr val="tx1"/>
              </a:solidFill>
            </a:endParaRPr>
          </a:p>
          <a:p>
            <a:pPr marL="447675" indent="0">
              <a:buNone/>
            </a:pPr>
            <a:r>
              <a:rPr lang="en-ID" sz="2400" b="1" dirty="0">
                <a:solidFill>
                  <a:schemeClr val="tx1"/>
                </a:solidFill>
              </a:rPr>
              <a:t>Bagian </a:t>
            </a:r>
            <a:r>
              <a:rPr lang="en-ID" sz="2400" b="1" dirty="0" err="1">
                <a:solidFill>
                  <a:schemeClr val="tx1"/>
                </a:solidFill>
              </a:rPr>
              <a:t>Ketiga</a:t>
            </a:r>
            <a:r>
              <a:rPr lang="en-ID" sz="2400" b="1" dirty="0">
                <a:solidFill>
                  <a:schemeClr val="tx1"/>
                </a:solidFill>
              </a:rPr>
              <a:t> </a:t>
            </a:r>
            <a:r>
              <a:rPr lang="en-ID" sz="2400" b="1" dirty="0" err="1">
                <a:solidFill>
                  <a:schemeClr val="tx1"/>
                </a:solidFill>
              </a:rPr>
              <a:t>Panen</a:t>
            </a:r>
            <a:endParaRPr lang="en-ID" sz="2400" b="1" dirty="0">
              <a:solidFill>
                <a:schemeClr val="tx1"/>
              </a:solidFill>
            </a:endParaRPr>
          </a:p>
          <a:p>
            <a:pPr marL="447675" indent="0">
              <a:buNone/>
            </a:pPr>
            <a:r>
              <a:rPr lang="en-ID" sz="2400" b="1" dirty="0">
                <a:solidFill>
                  <a:schemeClr val="tx1"/>
                </a:solidFill>
              </a:rPr>
              <a:t>Bagian </a:t>
            </a:r>
            <a:r>
              <a:rPr lang="en-ID" sz="2400" b="1" dirty="0" err="1">
                <a:solidFill>
                  <a:schemeClr val="tx1"/>
                </a:solidFill>
              </a:rPr>
              <a:t>Keempat</a:t>
            </a:r>
            <a:r>
              <a:rPr lang="en-ID" sz="2400" b="1" dirty="0">
                <a:solidFill>
                  <a:schemeClr val="tx1"/>
                </a:solidFill>
              </a:rPr>
              <a:t> </a:t>
            </a:r>
            <a:r>
              <a:rPr lang="en-ID" sz="2400" b="1" dirty="0" err="1">
                <a:solidFill>
                  <a:schemeClr val="tx1"/>
                </a:solidFill>
              </a:rPr>
              <a:t>Pascapanen</a:t>
            </a:r>
            <a:endParaRPr lang="en-ID" sz="2400" b="1" dirty="0">
              <a:solidFill>
                <a:schemeClr val="tx1"/>
              </a:solidFill>
            </a:endParaRPr>
          </a:p>
          <a:p>
            <a:pPr marL="357505" indent="-357505">
              <a:buFont typeface="Wingdings" panose="05000000000000000000" pitchFamily="2" charset="2"/>
              <a:buChar char="q"/>
            </a:pPr>
            <a:r>
              <a:rPr lang="en-ID" sz="2400" b="1" dirty="0">
                <a:solidFill>
                  <a:schemeClr val="tx1"/>
                </a:solidFill>
              </a:rPr>
              <a:t>BAB III SUMBER DAYA MANUSIA</a:t>
            </a:r>
            <a:endParaRPr lang="en-ID" sz="2400" b="1" dirty="0">
              <a:solidFill>
                <a:schemeClr val="tx1"/>
              </a:solidFill>
            </a:endParaRPr>
          </a:p>
          <a:p>
            <a:pPr marL="357505" indent="-357505">
              <a:buFont typeface="Wingdings" panose="05000000000000000000" pitchFamily="2" charset="2"/>
              <a:buChar char="q"/>
            </a:pPr>
            <a:r>
              <a:rPr lang="en-ID" sz="2400" b="1" dirty="0">
                <a:solidFill>
                  <a:schemeClr val="tx1"/>
                </a:solidFill>
              </a:rPr>
              <a:t>BAB IV REGISTRASI DAN SERTIFIKASI</a:t>
            </a:r>
            <a:endParaRPr lang="en-ID" sz="2400" b="1" dirty="0">
              <a:solidFill>
                <a:schemeClr val="tx1"/>
              </a:solidFill>
            </a:endParaRPr>
          </a:p>
          <a:p>
            <a:pPr marL="357505" indent="-357505">
              <a:buFont typeface="Wingdings" panose="05000000000000000000" pitchFamily="2" charset="2"/>
              <a:buChar char="q"/>
            </a:pPr>
            <a:r>
              <a:rPr lang="en-ID" sz="2400" b="1" dirty="0">
                <a:solidFill>
                  <a:schemeClr val="tx1"/>
                </a:solidFill>
              </a:rPr>
              <a:t>BAB V KETENTUAN PERALIHAN</a:t>
            </a:r>
            <a:endParaRPr lang="en-ID" sz="2400" b="1" dirty="0">
              <a:solidFill>
                <a:schemeClr val="tx1"/>
              </a:solidFill>
            </a:endParaRPr>
          </a:p>
          <a:p>
            <a:pPr marL="357505" indent="-357505">
              <a:buFont typeface="Wingdings" panose="05000000000000000000" pitchFamily="2" charset="2"/>
              <a:buChar char="q"/>
            </a:pPr>
            <a:r>
              <a:rPr lang="en-ID" sz="2400" b="1" dirty="0">
                <a:solidFill>
                  <a:schemeClr val="tx1"/>
                </a:solidFill>
              </a:rPr>
              <a:t>BAB VI KETENTUAN PENUTUP</a:t>
            </a:r>
            <a:endParaRPr lang="en-ID" sz="24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C:\Users\Tata\Pictures\13063130_1193676487323208_4701662079720759418_o.jpg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16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5" name="Picture 14" descr="Hasil gambar untuk logo kementan terbar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0" y="190500"/>
            <a:ext cx="1380421" cy="1434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06" name="Title 1"/>
          <p:cNvSpPr>
            <a:spLocks noGrp="1"/>
          </p:cNvSpPr>
          <p:nvPr>
            <p:ph type="title"/>
          </p:nvPr>
        </p:nvSpPr>
        <p:spPr>
          <a:xfrm>
            <a:off x="3682507" y="190500"/>
            <a:ext cx="7010401" cy="1147227"/>
          </a:xfrm>
          <a:solidFill>
            <a:srgbClr val="FFFF00"/>
          </a:solidFill>
        </p:spPr>
        <p:txBody>
          <a:bodyPr rtlCol="0">
            <a:normAutofit/>
          </a:bodyPr>
          <a:lstStyle/>
          <a:p>
            <a:pPr>
              <a:defRPr/>
            </a:pPr>
            <a:r>
              <a:rPr lang="en-US" altLang="en-US" sz="5300" b="1" i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n-lt"/>
                <a:cs typeface="Arial" panose="020B0604020202020204" pitchFamily="34" charset="0"/>
              </a:rPr>
              <a:t>TERIMA</a:t>
            </a:r>
            <a:r>
              <a:rPr lang="id-ID" altLang="en-US" sz="5300" b="1" i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n-lt"/>
                <a:cs typeface="Arial" panose="020B0604020202020204" pitchFamily="34" charset="0"/>
              </a:rPr>
              <a:t> </a:t>
            </a:r>
            <a:r>
              <a:rPr lang="en-US" altLang="en-US" sz="5300" b="1" i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n-lt"/>
                <a:cs typeface="Arial" panose="020B0604020202020204" pitchFamily="34" charset="0"/>
              </a:rPr>
              <a:t>KASIH</a:t>
            </a:r>
            <a:endParaRPr lang="en-US" altLang="en-US" sz="5300" b="1" i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+mn-lt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slow"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2" descr="E:\002-KIMS BUSINESS\000-B-KIMS-소스 분류-2014\10-ESP to IMG\지구.png"/>
          <p:cNvPicPr>
            <a:picLocks noChangeAspect="1" noChangeArrowheads="1"/>
          </p:cNvPicPr>
          <p:nvPr/>
        </p:nvPicPr>
        <p:blipFill>
          <a:blip r:embed="rId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7258" y="-933317"/>
            <a:ext cx="8461863" cy="8461863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7277101" y="4142835"/>
            <a:ext cx="5103812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ID" altLang="ko-KR" sz="3200" dirty="0" err="1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Produk</a:t>
            </a:r>
            <a:r>
              <a:rPr lang="en-ID" altLang="ko-KR" sz="3200" dirty="0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 </a:t>
            </a:r>
            <a:r>
              <a:rPr lang="en-ID" altLang="ko-KR" sz="3200" dirty="0" err="1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belum</a:t>
            </a:r>
            <a:r>
              <a:rPr lang="en-ID" altLang="ko-KR" sz="3200" dirty="0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 </a:t>
            </a:r>
            <a:r>
              <a:rPr lang="en-ID" altLang="ko-KR" sz="3200" dirty="0" err="1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didisain</a:t>
            </a:r>
            <a:r>
              <a:rPr lang="en-ID" altLang="ko-KR" sz="3200" dirty="0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 </a:t>
            </a:r>
            <a:r>
              <a:rPr lang="en-ID" altLang="ko-KR" sz="3200" dirty="0" err="1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mengacu</a:t>
            </a:r>
            <a:r>
              <a:rPr lang="en-ID" altLang="ko-KR" sz="3200" dirty="0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 </a:t>
            </a:r>
            <a:r>
              <a:rPr lang="en-ID" altLang="ko-KR" sz="3200" dirty="0" err="1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permintaan</a:t>
            </a:r>
            <a:r>
              <a:rPr lang="en-ID" altLang="ko-KR" sz="3200" dirty="0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 pasar</a:t>
            </a:r>
            <a:endParaRPr lang="en-ID" altLang="ko-KR" sz="3200" dirty="0">
              <a:solidFill>
                <a:srgbClr val="C00000"/>
              </a:solidFill>
              <a:latin typeface="Tw Cen MT" panose="020B0602020104020603" pitchFamily="34" charset="0"/>
              <a:cs typeface="Arial" panose="020B0604020202020204" pitchFamily="34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  <a:defRPr/>
            </a:pPr>
            <a:r>
              <a:rPr lang="en-ID" altLang="ko-KR" sz="2400" dirty="0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Grading</a:t>
            </a:r>
            <a:endParaRPr lang="en-ID" altLang="ko-KR" sz="2400" dirty="0">
              <a:solidFill>
                <a:srgbClr val="C00000"/>
              </a:solidFill>
              <a:latin typeface="Tw Cen MT" panose="020B0602020104020603" pitchFamily="34" charset="0"/>
              <a:cs typeface="Arial" panose="020B0604020202020204" pitchFamily="34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  <a:defRPr/>
            </a:pPr>
            <a:r>
              <a:rPr lang="en-ID" altLang="ko-KR" sz="2400" dirty="0" err="1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Olahan</a:t>
            </a:r>
            <a:endParaRPr lang="en-ID" altLang="ko-KR" sz="2400" dirty="0">
              <a:solidFill>
                <a:srgbClr val="C00000"/>
              </a:solidFill>
              <a:latin typeface="Tw Cen MT" panose="020B0602020104020603" pitchFamily="34" charset="0"/>
              <a:cs typeface="Arial" panose="020B0604020202020204" pitchFamily="34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  <a:defRPr/>
            </a:pPr>
            <a:r>
              <a:rPr lang="en-ID" altLang="ko-KR" sz="2400" dirty="0" err="1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Saluran</a:t>
            </a:r>
            <a:r>
              <a:rPr lang="en-ID" altLang="ko-KR" sz="2400" dirty="0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 </a:t>
            </a:r>
            <a:r>
              <a:rPr lang="en-ID" altLang="ko-KR" sz="2400" dirty="0" err="1">
                <a:solidFill>
                  <a:srgbClr val="C0000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pemasaran</a:t>
            </a:r>
            <a:endParaRPr lang="en-ID" altLang="ko-KR" sz="2400" dirty="0">
              <a:solidFill>
                <a:srgbClr val="C00000"/>
              </a:solidFill>
              <a:latin typeface="Tw Cen MT" panose="020B0602020104020603" pitchFamily="34" charset="0"/>
              <a:cs typeface="Arial" panose="020B0604020202020204" pitchFamily="34" charset="0"/>
            </a:endParaRPr>
          </a:p>
        </p:txBody>
      </p:sp>
      <p:sp>
        <p:nvSpPr>
          <p:cNvPr id="43013" name="TextBox 25"/>
          <p:cNvSpPr txBox="1">
            <a:spLocks noChangeArrowheads="1"/>
          </p:cNvSpPr>
          <p:nvPr/>
        </p:nvSpPr>
        <p:spPr bwMode="auto">
          <a:xfrm>
            <a:off x="8059738" y="1212788"/>
            <a:ext cx="4074153" cy="2185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ID" altLang="ko-KR" sz="3400" dirty="0" err="1">
                <a:solidFill>
                  <a:srgbClr val="026567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Diplomasi</a:t>
            </a:r>
            <a:r>
              <a:rPr lang="en-ID" altLang="ko-KR" sz="3400" dirty="0">
                <a:solidFill>
                  <a:srgbClr val="026567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 </a:t>
            </a:r>
            <a:r>
              <a:rPr lang="en-ID" altLang="ko-KR" sz="3400" dirty="0" err="1">
                <a:solidFill>
                  <a:srgbClr val="026567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Perdagangan</a:t>
            </a:r>
            <a:r>
              <a:rPr lang="en-ID" altLang="ko-KR" sz="3400" dirty="0">
                <a:solidFill>
                  <a:srgbClr val="026567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 </a:t>
            </a:r>
            <a:r>
              <a:rPr lang="en-ID" altLang="ko-KR" sz="3400" dirty="0" err="1">
                <a:solidFill>
                  <a:srgbClr val="026567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Internasional</a:t>
            </a:r>
            <a:endParaRPr lang="en-ID" altLang="ko-KR" sz="3400" dirty="0">
              <a:solidFill>
                <a:srgbClr val="026567"/>
              </a:solidFill>
              <a:latin typeface="Tw Cen MT" panose="020B0602020104020603" pitchFamily="34" charset="0"/>
              <a:cs typeface="Arial" panose="020B0604020202020204" pitchFamily="34" charset="0"/>
            </a:endParaRPr>
          </a:p>
          <a:p>
            <a:pPr algn="ctr"/>
            <a:r>
              <a:rPr lang="en-ID" altLang="ko-KR" sz="3400" dirty="0" err="1">
                <a:solidFill>
                  <a:srgbClr val="026567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Lemah</a:t>
            </a:r>
            <a:endParaRPr lang="en-ID" altLang="ko-KR" sz="3400" dirty="0">
              <a:solidFill>
                <a:srgbClr val="026567"/>
              </a:solidFill>
              <a:latin typeface="Tw Cen MT" panose="020B0602020104020603" pitchFamily="34" charset="0"/>
              <a:cs typeface="Arial" panose="020B0604020202020204" pitchFamily="34" charset="0"/>
            </a:endParaRPr>
          </a:p>
        </p:txBody>
      </p:sp>
      <p:sp>
        <p:nvSpPr>
          <p:cNvPr id="43014" name="TextBox 28"/>
          <p:cNvSpPr txBox="1">
            <a:spLocks noChangeArrowheads="1"/>
          </p:cNvSpPr>
          <p:nvPr/>
        </p:nvSpPr>
        <p:spPr bwMode="auto">
          <a:xfrm>
            <a:off x="3977542" y="5216251"/>
            <a:ext cx="3491422" cy="1723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ID" altLang="ko-KR" dirty="0" err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iaya</a:t>
            </a:r>
            <a:r>
              <a:rPr lang="en-ID" altLang="ko-KR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ID" altLang="ko-KR" dirty="0" err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ogistik</a:t>
            </a:r>
            <a:r>
              <a:rPr lang="en-ID" altLang="ko-KR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Tinggi</a:t>
            </a:r>
            <a:endParaRPr lang="en-ID" altLang="ko-KR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en-ID" altLang="ko-KR" sz="24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Harga </a:t>
            </a:r>
            <a:r>
              <a:rPr lang="en-ID" altLang="ko-KR" sz="2400" dirty="0" err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oduk</a:t>
            </a:r>
            <a:r>
              <a:rPr lang="en-ID" altLang="ko-KR" sz="24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mahal</a:t>
            </a:r>
            <a:endParaRPr lang="en-ID" altLang="ko-KR" sz="2400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ko-KR" altLang="en-US" sz="1800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47329" y="1002425"/>
            <a:ext cx="3949218" cy="156966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ID" altLang="ko-KR" sz="3200" b="1" dirty="0" err="1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konsistensi</a:t>
            </a:r>
            <a:endParaRPr lang="en-ID" altLang="ko-KR" sz="32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en-ID" altLang="ko-KR" sz="3200" b="1" dirty="0" err="1">
                <a:solidFill>
                  <a:schemeClr val="accent5">
                    <a:lumMod val="75000"/>
                  </a:schemeClr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Aspek</a:t>
            </a:r>
            <a:r>
              <a:rPr lang="en-ID" altLang="ko-KR" sz="3200" b="1" dirty="0">
                <a:solidFill>
                  <a:schemeClr val="accent5">
                    <a:lumMod val="75000"/>
                  </a:schemeClr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 </a:t>
            </a:r>
            <a:r>
              <a:rPr lang="en-ID" altLang="ko-KR" sz="3200" b="1" dirty="0" err="1">
                <a:solidFill>
                  <a:schemeClr val="accent5">
                    <a:lumMod val="75000"/>
                  </a:schemeClr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Mutu</a:t>
            </a:r>
            <a:r>
              <a:rPr lang="en-ID" altLang="ko-KR" sz="3200" b="1" dirty="0">
                <a:solidFill>
                  <a:schemeClr val="accent5">
                    <a:lumMod val="75000"/>
                  </a:schemeClr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 </a:t>
            </a:r>
            <a:r>
              <a:rPr lang="en-ID" altLang="ko-KR" sz="3200" b="1" dirty="0" err="1">
                <a:solidFill>
                  <a:schemeClr val="accent5">
                    <a:lumMod val="75000"/>
                  </a:schemeClr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Produk</a:t>
            </a:r>
            <a:r>
              <a:rPr lang="en-ID" altLang="ko-KR" sz="3200" b="1" dirty="0">
                <a:solidFill>
                  <a:schemeClr val="accent5">
                    <a:lumMod val="75000"/>
                  </a:schemeClr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 dan supply</a:t>
            </a:r>
            <a:endParaRPr lang="ko-KR" altLang="en-US" sz="3200" b="1" dirty="0">
              <a:solidFill>
                <a:schemeClr val="accent5">
                  <a:lumMod val="75000"/>
                </a:schemeClr>
              </a:solidFill>
              <a:latin typeface="Tw Cen MT" panose="020B0602020104020603" pitchFamily="34" charset="0"/>
              <a:cs typeface="Arial" panose="020B0604020202020204" pitchFamily="34" charset="0"/>
            </a:endParaRPr>
          </a:p>
        </p:txBody>
      </p:sp>
      <p:grpSp>
        <p:nvGrpSpPr>
          <p:cNvPr id="43016" name="그룹 47"/>
          <p:cNvGrpSpPr/>
          <p:nvPr/>
        </p:nvGrpSpPr>
        <p:grpSpPr bwMode="auto">
          <a:xfrm>
            <a:off x="3387725" y="2119313"/>
            <a:ext cx="5421313" cy="2998787"/>
            <a:chOff x="3360334" y="2373247"/>
            <a:chExt cx="5421616" cy="2999203"/>
          </a:xfrm>
        </p:grpSpPr>
        <p:sp>
          <p:nvSpPr>
            <p:cNvPr id="13" name="Oval 94"/>
            <p:cNvSpPr/>
            <p:nvPr/>
          </p:nvSpPr>
          <p:spPr>
            <a:xfrm>
              <a:off x="3360334" y="2373247"/>
              <a:ext cx="725529" cy="725588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/>
            </a:p>
          </p:txBody>
        </p:sp>
        <p:sp>
          <p:nvSpPr>
            <p:cNvPr id="14" name="Oval 95"/>
            <p:cNvSpPr/>
            <p:nvPr/>
          </p:nvSpPr>
          <p:spPr>
            <a:xfrm>
              <a:off x="4038235" y="3916511"/>
              <a:ext cx="725528" cy="725588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/>
            </a:p>
          </p:txBody>
        </p:sp>
        <p:sp>
          <p:nvSpPr>
            <p:cNvPr id="15" name="Oval 96"/>
            <p:cNvSpPr/>
            <p:nvPr/>
          </p:nvSpPr>
          <p:spPr>
            <a:xfrm>
              <a:off x="5636936" y="4646862"/>
              <a:ext cx="723940" cy="725588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/>
            </a:p>
          </p:txBody>
        </p:sp>
        <p:sp>
          <p:nvSpPr>
            <p:cNvPr id="16" name="Oval 97"/>
            <p:cNvSpPr/>
            <p:nvPr/>
          </p:nvSpPr>
          <p:spPr>
            <a:xfrm>
              <a:off x="7307080" y="3935564"/>
              <a:ext cx="725529" cy="725588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/>
            </a:p>
          </p:txBody>
        </p:sp>
        <p:sp>
          <p:nvSpPr>
            <p:cNvPr id="17" name="Oval 98"/>
            <p:cNvSpPr/>
            <p:nvPr/>
          </p:nvSpPr>
          <p:spPr>
            <a:xfrm>
              <a:off x="8056421" y="2411352"/>
              <a:ext cx="725529" cy="725588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/>
            </a:p>
          </p:txBody>
        </p:sp>
        <p:sp>
          <p:nvSpPr>
            <p:cNvPr id="33" name="Parallelogram 30"/>
            <p:cNvSpPr/>
            <p:nvPr/>
          </p:nvSpPr>
          <p:spPr>
            <a:xfrm flipH="1">
              <a:off x="4214457" y="4127677"/>
              <a:ext cx="354033" cy="354062"/>
            </a:xfrm>
            <a:custGeom>
              <a:avLst/>
              <a:gdLst/>
              <a:ahLst/>
              <a:cxnLst/>
              <a:rect l="l" t="t" r="r" b="b"/>
              <a:pathLst>
                <a:path w="3240000" h="3248012">
                  <a:moveTo>
                    <a:pt x="712553" y="858820"/>
                  </a:moveTo>
                  <a:cubicBezTo>
                    <a:pt x="727950" y="858820"/>
                    <a:pt x="743348" y="864694"/>
                    <a:pt x="755096" y="876443"/>
                  </a:cubicBezTo>
                  <a:lnTo>
                    <a:pt x="1193671" y="1315016"/>
                  </a:lnTo>
                  <a:lnTo>
                    <a:pt x="1509169" y="999517"/>
                  </a:lnTo>
                  <a:cubicBezTo>
                    <a:pt x="1509517" y="999169"/>
                    <a:pt x="1509868" y="998827"/>
                    <a:pt x="1510414" y="998691"/>
                  </a:cubicBezTo>
                  <a:lnTo>
                    <a:pt x="1518932" y="988592"/>
                  </a:lnTo>
                  <a:cubicBezTo>
                    <a:pt x="1531945" y="978263"/>
                    <a:pt x="1547912" y="974188"/>
                    <a:pt x="1563209" y="975946"/>
                  </a:cubicBezTo>
                  <a:cubicBezTo>
                    <a:pt x="1578505" y="977705"/>
                    <a:pt x="1593131" y="985299"/>
                    <a:pt x="1603459" y="998313"/>
                  </a:cubicBezTo>
                  <a:lnTo>
                    <a:pt x="1892346" y="1362277"/>
                  </a:lnTo>
                  <a:lnTo>
                    <a:pt x="2149759" y="1177067"/>
                  </a:lnTo>
                  <a:lnTo>
                    <a:pt x="2151621" y="1174867"/>
                  </a:lnTo>
                  <a:cubicBezTo>
                    <a:pt x="2159033" y="1169006"/>
                    <a:pt x="2167397" y="1165168"/>
                    <a:pt x="2176160" y="1163802"/>
                  </a:cubicBezTo>
                  <a:cubicBezTo>
                    <a:pt x="2177188" y="1163485"/>
                    <a:pt x="2178237" y="1163269"/>
                    <a:pt x="2179375" y="1163558"/>
                  </a:cubicBezTo>
                  <a:cubicBezTo>
                    <a:pt x="2184768" y="1161771"/>
                    <a:pt x="2190389" y="1161654"/>
                    <a:pt x="2195921" y="1162300"/>
                  </a:cubicBezTo>
                  <a:cubicBezTo>
                    <a:pt x="2196662" y="1162386"/>
                    <a:pt x="2197402" y="1162487"/>
                    <a:pt x="2198081" y="1162987"/>
                  </a:cubicBezTo>
                  <a:cubicBezTo>
                    <a:pt x="2202197" y="1163290"/>
                    <a:pt x="2206218" y="1164270"/>
                    <a:pt x="2209739" y="1166702"/>
                  </a:cubicBezTo>
                  <a:cubicBezTo>
                    <a:pt x="2213116" y="1166857"/>
                    <a:pt x="2216051" y="1168231"/>
                    <a:pt x="2218766" y="1170038"/>
                  </a:cubicBezTo>
                  <a:cubicBezTo>
                    <a:pt x="2225342" y="1173160"/>
                    <a:pt x="2231151" y="1177875"/>
                    <a:pt x="2235489" y="1184194"/>
                  </a:cubicBezTo>
                  <a:lnTo>
                    <a:pt x="2236132" y="1184737"/>
                  </a:lnTo>
                  <a:lnTo>
                    <a:pt x="2236287" y="1184934"/>
                  </a:lnTo>
                  <a:lnTo>
                    <a:pt x="2238712" y="1187183"/>
                  </a:lnTo>
                  <a:cubicBezTo>
                    <a:pt x="2239115" y="1187744"/>
                    <a:pt x="2239507" y="1188310"/>
                    <a:pt x="2239574" y="1189090"/>
                  </a:cubicBezTo>
                  <a:lnTo>
                    <a:pt x="2540580" y="1569705"/>
                  </a:lnTo>
                  <a:cubicBezTo>
                    <a:pt x="2561191" y="1595768"/>
                    <a:pt x="2556772" y="1633604"/>
                    <a:pt x="2530710" y="1654215"/>
                  </a:cubicBezTo>
                  <a:cubicBezTo>
                    <a:pt x="2504647" y="1674827"/>
                    <a:pt x="2466811" y="1670408"/>
                    <a:pt x="2446199" y="1644345"/>
                  </a:cubicBezTo>
                  <a:lnTo>
                    <a:pt x="2177884" y="1305067"/>
                  </a:lnTo>
                  <a:lnTo>
                    <a:pt x="1934804" y="1479967"/>
                  </a:lnTo>
                  <a:cubicBezTo>
                    <a:pt x="1927367" y="1485317"/>
                    <a:pt x="1919123" y="1488726"/>
                    <a:pt x="1910598" y="1489881"/>
                  </a:cubicBezTo>
                  <a:cubicBezTo>
                    <a:pt x="1885257" y="1507791"/>
                    <a:pt x="1850121" y="1502627"/>
                    <a:pt x="1830495" y="1477903"/>
                  </a:cubicBezTo>
                  <a:lnTo>
                    <a:pt x="1551924" y="1126933"/>
                  </a:lnTo>
                  <a:lnTo>
                    <a:pt x="1239041" y="1439816"/>
                  </a:lnTo>
                  <a:cubicBezTo>
                    <a:pt x="1226569" y="1452288"/>
                    <a:pt x="1209983" y="1458139"/>
                    <a:pt x="1193674" y="1456888"/>
                  </a:cubicBezTo>
                  <a:cubicBezTo>
                    <a:pt x="1177363" y="1458142"/>
                    <a:pt x="1160774" y="1452290"/>
                    <a:pt x="1148301" y="1439816"/>
                  </a:cubicBezTo>
                  <a:lnTo>
                    <a:pt x="670011" y="961527"/>
                  </a:lnTo>
                  <a:cubicBezTo>
                    <a:pt x="646515" y="938031"/>
                    <a:pt x="646515" y="899938"/>
                    <a:pt x="670011" y="876442"/>
                  </a:cubicBezTo>
                  <a:cubicBezTo>
                    <a:pt x="681760" y="864694"/>
                    <a:pt x="697157" y="858820"/>
                    <a:pt x="712553" y="858820"/>
                  </a:cubicBezTo>
                  <a:close/>
                  <a:moveTo>
                    <a:pt x="2790000" y="699581"/>
                  </a:moveTo>
                  <a:lnTo>
                    <a:pt x="450000" y="699581"/>
                  </a:lnTo>
                  <a:lnTo>
                    <a:pt x="450000" y="1851581"/>
                  </a:lnTo>
                  <a:lnTo>
                    <a:pt x="2790000" y="1851581"/>
                  </a:lnTo>
                  <a:close/>
                  <a:moveTo>
                    <a:pt x="2987972" y="519497"/>
                  </a:moveTo>
                  <a:lnTo>
                    <a:pt x="2987972" y="2031665"/>
                  </a:lnTo>
                  <a:lnTo>
                    <a:pt x="252028" y="2031665"/>
                  </a:lnTo>
                  <a:lnTo>
                    <a:pt x="252028" y="519497"/>
                  </a:lnTo>
                  <a:close/>
                  <a:moveTo>
                    <a:pt x="1620000" y="0"/>
                  </a:moveTo>
                  <a:cubicBezTo>
                    <a:pt x="1540462" y="0"/>
                    <a:pt x="1475984" y="64478"/>
                    <a:pt x="1475984" y="144016"/>
                  </a:cubicBezTo>
                  <a:lnTo>
                    <a:pt x="1475984" y="267469"/>
                  </a:lnTo>
                  <a:lnTo>
                    <a:pt x="0" y="267469"/>
                  </a:lnTo>
                  <a:lnTo>
                    <a:pt x="0" y="2283693"/>
                  </a:lnTo>
                  <a:lnTo>
                    <a:pt x="852101" y="2283693"/>
                  </a:lnTo>
                  <a:lnTo>
                    <a:pt x="323771" y="3248012"/>
                  </a:lnTo>
                  <a:lnTo>
                    <a:pt x="621526" y="3248012"/>
                  </a:lnTo>
                  <a:lnTo>
                    <a:pt x="1149856" y="2283693"/>
                  </a:lnTo>
                  <a:lnTo>
                    <a:pt x="2090146" y="2283693"/>
                  </a:lnTo>
                  <a:lnTo>
                    <a:pt x="2618476" y="3248012"/>
                  </a:lnTo>
                  <a:lnTo>
                    <a:pt x="2916231" y="3248012"/>
                  </a:lnTo>
                  <a:lnTo>
                    <a:pt x="2387901" y="2283693"/>
                  </a:lnTo>
                  <a:lnTo>
                    <a:pt x="3240000" y="2283693"/>
                  </a:lnTo>
                  <a:lnTo>
                    <a:pt x="3240000" y="267469"/>
                  </a:lnTo>
                  <a:lnTo>
                    <a:pt x="1764016" y="267469"/>
                  </a:lnTo>
                  <a:lnTo>
                    <a:pt x="1764016" y="144016"/>
                  </a:lnTo>
                  <a:cubicBezTo>
                    <a:pt x="1764016" y="64478"/>
                    <a:pt x="1699538" y="0"/>
                    <a:pt x="1620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ko-KR" altLang="en-US" dirty="0"/>
            </a:p>
          </p:txBody>
        </p:sp>
        <p:sp>
          <p:nvSpPr>
            <p:cNvPr id="34" name="Isosceles Triangle 8"/>
            <p:cNvSpPr/>
            <p:nvPr/>
          </p:nvSpPr>
          <p:spPr>
            <a:xfrm rot="16200000">
              <a:off x="8257237" y="2570934"/>
              <a:ext cx="342948" cy="408011"/>
            </a:xfrm>
            <a:custGeom>
              <a:avLst/>
              <a:gdLst/>
              <a:ahLst/>
              <a:cxnLst/>
              <a:rect l="l" t="t" r="r" b="b"/>
              <a:pathLst>
                <a:path w="2708011" h="3228660">
                  <a:moveTo>
                    <a:pt x="1895121" y="2005092"/>
                  </a:moveTo>
                  <a:cubicBezTo>
                    <a:pt x="1769067" y="2196199"/>
                    <a:pt x="1559641" y="2315968"/>
                    <a:pt x="1331007" y="2327705"/>
                  </a:cubicBezTo>
                  <a:cubicBezTo>
                    <a:pt x="1102373" y="2339443"/>
                    <a:pt x="881783" y="2241749"/>
                    <a:pt x="736821" y="2064556"/>
                  </a:cubicBezTo>
                  <a:lnTo>
                    <a:pt x="885891" y="1942602"/>
                  </a:lnTo>
                  <a:cubicBezTo>
                    <a:pt x="992076" y="2072396"/>
                    <a:pt x="1153658" y="2143956"/>
                    <a:pt x="1321132" y="2135359"/>
                  </a:cubicBezTo>
                  <a:cubicBezTo>
                    <a:pt x="1488607" y="2126761"/>
                    <a:pt x="1642011" y="2039030"/>
                    <a:pt x="1734346" y="1899045"/>
                  </a:cubicBezTo>
                  <a:close/>
                  <a:moveTo>
                    <a:pt x="2315256" y="2179725"/>
                  </a:moveTo>
                  <a:cubicBezTo>
                    <a:pt x="2124977" y="2519973"/>
                    <a:pt x="1777729" y="2743099"/>
                    <a:pt x="1389179" y="2774782"/>
                  </a:cubicBezTo>
                  <a:cubicBezTo>
                    <a:pt x="1000629" y="2806465"/>
                    <a:pt x="621821" y="2642541"/>
                    <a:pt x="378934" y="2337614"/>
                  </a:cubicBezTo>
                  <a:lnTo>
                    <a:pt x="519502" y="2225645"/>
                  </a:lnTo>
                  <a:cubicBezTo>
                    <a:pt x="725082" y="2483736"/>
                    <a:pt x="1045705" y="2622480"/>
                    <a:pt x="1374574" y="2595664"/>
                  </a:cubicBezTo>
                  <a:cubicBezTo>
                    <a:pt x="1703443" y="2568848"/>
                    <a:pt x="1997353" y="2379994"/>
                    <a:pt x="2158406" y="2092008"/>
                  </a:cubicBezTo>
                  <a:close/>
                  <a:moveTo>
                    <a:pt x="2315941" y="1615003"/>
                  </a:moveTo>
                  <a:lnTo>
                    <a:pt x="272242" y="1615003"/>
                  </a:lnTo>
                  <a:lnTo>
                    <a:pt x="872561" y="666216"/>
                  </a:lnTo>
                  <a:lnTo>
                    <a:pt x="872561" y="219906"/>
                  </a:lnTo>
                  <a:cubicBezTo>
                    <a:pt x="872561" y="98674"/>
                    <a:pt x="970839" y="396"/>
                    <a:pt x="1092071" y="396"/>
                  </a:cubicBezTo>
                  <a:lnTo>
                    <a:pt x="1293841" y="396"/>
                  </a:lnTo>
                  <a:lnTo>
                    <a:pt x="1294092" y="0"/>
                  </a:lnTo>
                  <a:lnTo>
                    <a:pt x="1294343" y="396"/>
                  </a:lnTo>
                  <a:lnTo>
                    <a:pt x="1470231" y="396"/>
                  </a:lnTo>
                  <a:cubicBezTo>
                    <a:pt x="1591463" y="396"/>
                    <a:pt x="1689741" y="98674"/>
                    <a:pt x="1689741" y="219906"/>
                  </a:cubicBezTo>
                  <a:lnTo>
                    <a:pt x="1689741" y="625313"/>
                  </a:lnTo>
                  <a:close/>
                  <a:moveTo>
                    <a:pt x="2708011" y="2399368"/>
                  </a:moveTo>
                  <a:cubicBezTo>
                    <a:pt x="2440740" y="2877288"/>
                    <a:pt x="1950128" y="3187847"/>
                    <a:pt x="1403807" y="3224932"/>
                  </a:cubicBezTo>
                  <a:cubicBezTo>
                    <a:pt x="857486" y="3262017"/>
                    <a:pt x="329406" y="3020609"/>
                    <a:pt x="0" y="2583191"/>
                  </a:cubicBezTo>
                  <a:lnTo>
                    <a:pt x="143153" y="2475389"/>
                  </a:lnTo>
                  <a:cubicBezTo>
                    <a:pt x="436120" y="2864419"/>
                    <a:pt x="905784" y="3079123"/>
                    <a:pt x="1391671" y="3046140"/>
                  </a:cubicBezTo>
                  <a:cubicBezTo>
                    <a:pt x="1877558" y="3013157"/>
                    <a:pt x="2313899" y="2736952"/>
                    <a:pt x="2551604" y="231189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ko-KR" altLang="en-US" dirty="0"/>
            </a:p>
          </p:txBody>
        </p:sp>
        <p:sp>
          <p:nvSpPr>
            <p:cNvPr id="35" name="Oval 7"/>
            <p:cNvSpPr/>
            <p:nvPr/>
          </p:nvSpPr>
          <p:spPr>
            <a:xfrm>
              <a:off x="7499178" y="4119739"/>
              <a:ext cx="361970" cy="363587"/>
            </a:xfrm>
            <a:custGeom>
              <a:avLst/>
              <a:gdLst/>
              <a:ahLst/>
              <a:cxnLst/>
              <a:rect l="l" t="t" r="r" b="b"/>
              <a:pathLst>
                <a:path w="3240000" h="3240000">
                  <a:moveTo>
                    <a:pt x="1415334" y="1947658"/>
                  </a:moveTo>
                  <a:lnTo>
                    <a:pt x="838053" y="2871852"/>
                  </a:lnTo>
                  <a:cubicBezTo>
                    <a:pt x="1312591" y="3168264"/>
                    <a:pt x="1913932" y="3170879"/>
                    <a:pt x="2391030" y="2878606"/>
                  </a:cubicBezTo>
                  <a:lnTo>
                    <a:pt x="1821709" y="1949263"/>
                  </a:lnTo>
                  <a:cubicBezTo>
                    <a:pt x="1763478" y="1986502"/>
                    <a:pt x="1694174" y="2007350"/>
                    <a:pt x="1620000" y="2007350"/>
                  </a:cubicBezTo>
                  <a:cubicBezTo>
                    <a:pt x="1544621" y="2007350"/>
                    <a:pt x="1474270" y="1985818"/>
                    <a:pt x="1415334" y="1947658"/>
                  </a:cubicBezTo>
                  <a:close/>
                  <a:moveTo>
                    <a:pt x="1620001" y="1350973"/>
                  </a:moveTo>
                  <a:cubicBezTo>
                    <a:pt x="1471421" y="1350973"/>
                    <a:pt x="1350973" y="1471421"/>
                    <a:pt x="1350973" y="1620001"/>
                  </a:cubicBezTo>
                  <a:cubicBezTo>
                    <a:pt x="1350973" y="1768581"/>
                    <a:pt x="1471421" y="1889029"/>
                    <a:pt x="1620001" y="1889029"/>
                  </a:cubicBezTo>
                  <a:cubicBezTo>
                    <a:pt x="1768581" y="1889029"/>
                    <a:pt x="1889029" y="1768581"/>
                    <a:pt x="1889029" y="1620001"/>
                  </a:cubicBezTo>
                  <a:cubicBezTo>
                    <a:pt x="1889029" y="1471421"/>
                    <a:pt x="1768581" y="1350973"/>
                    <a:pt x="1620001" y="1350973"/>
                  </a:cubicBezTo>
                  <a:close/>
                  <a:moveTo>
                    <a:pt x="2324470" y="322965"/>
                  </a:moveTo>
                  <a:lnTo>
                    <a:pt x="1804044" y="1281148"/>
                  </a:lnTo>
                  <a:cubicBezTo>
                    <a:pt x="1925507" y="1345192"/>
                    <a:pt x="2007350" y="1473038"/>
                    <a:pt x="2007350" y="1620000"/>
                  </a:cubicBezTo>
                  <a:lnTo>
                    <a:pt x="2005998" y="1633413"/>
                  </a:lnTo>
                  <a:lnTo>
                    <a:pt x="3095109" y="1671260"/>
                  </a:lnTo>
                  <a:cubicBezTo>
                    <a:pt x="3114541" y="1112092"/>
                    <a:pt x="2816135" y="590008"/>
                    <a:pt x="2324470" y="322965"/>
                  </a:cubicBezTo>
                  <a:close/>
                  <a:moveTo>
                    <a:pt x="926838" y="316888"/>
                  </a:moveTo>
                  <a:cubicBezTo>
                    <a:pt x="432869" y="579644"/>
                    <a:pt x="129933" y="1099113"/>
                    <a:pt x="144500" y="1658429"/>
                  </a:cubicBezTo>
                  <a:lnTo>
                    <a:pt x="1233664" y="1630062"/>
                  </a:lnTo>
                  <a:cubicBezTo>
                    <a:pt x="1232693" y="1626734"/>
                    <a:pt x="1232650" y="1623372"/>
                    <a:pt x="1232650" y="1620000"/>
                  </a:cubicBezTo>
                  <a:cubicBezTo>
                    <a:pt x="1232650" y="1471836"/>
                    <a:pt x="1315838" y="1343102"/>
                    <a:pt x="1438904" y="1279548"/>
                  </a:cubicBezTo>
                  <a:close/>
                  <a:moveTo>
                    <a:pt x="1620000" y="0"/>
                  </a:moveTo>
                  <a:cubicBezTo>
                    <a:pt x="2514701" y="0"/>
                    <a:pt x="3240000" y="725299"/>
                    <a:pt x="3240000" y="1620000"/>
                  </a:cubicBezTo>
                  <a:cubicBezTo>
                    <a:pt x="3240000" y="2514701"/>
                    <a:pt x="2514701" y="3240000"/>
                    <a:pt x="1620000" y="3240000"/>
                  </a:cubicBezTo>
                  <a:cubicBezTo>
                    <a:pt x="725299" y="3240000"/>
                    <a:pt x="0" y="2514701"/>
                    <a:pt x="0" y="1620000"/>
                  </a:cubicBezTo>
                  <a:cubicBezTo>
                    <a:pt x="0" y="725299"/>
                    <a:pt x="725299" y="0"/>
                    <a:pt x="1620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ko-KR" altLang="en-US" dirty="0"/>
            </a:p>
          </p:txBody>
        </p:sp>
        <p:sp>
          <p:nvSpPr>
            <p:cNvPr id="36" name="Donut 24"/>
            <p:cNvSpPr/>
            <p:nvPr/>
          </p:nvSpPr>
          <p:spPr>
            <a:xfrm>
              <a:off x="5808396" y="4805634"/>
              <a:ext cx="396897" cy="400105"/>
            </a:xfrm>
            <a:custGeom>
              <a:avLst/>
              <a:gdLst/>
              <a:ahLst/>
              <a:cxnLst/>
              <a:rect l="l" t="t" r="r" b="b"/>
              <a:pathLst>
                <a:path w="3208412" h="3234532">
                  <a:moveTo>
                    <a:pt x="1561445" y="1065858"/>
                  </a:moveTo>
                  <a:cubicBezTo>
                    <a:pt x="1654998" y="1065858"/>
                    <a:pt x="1743610" y="1087015"/>
                    <a:pt x="1821879" y="1126644"/>
                  </a:cubicBezTo>
                  <a:lnTo>
                    <a:pt x="1611352" y="1337172"/>
                  </a:lnTo>
                  <a:cubicBezTo>
                    <a:pt x="1595200" y="1333388"/>
                    <a:pt x="1578468" y="1332141"/>
                    <a:pt x="1561445" y="1332141"/>
                  </a:cubicBezTo>
                  <a:cubicBezTo>
                    <a:pt x="1373145" y="1332141"/>
                    <a:pt x="1220499" y="1484787"/>
                    <a:pt x="1220499" y="1673087"/>
                  </a:cubicBezTo>
                  <a:cubicBezTo>
                    <a:pt x="1220499" y="1861387"/>
                    <a:pt x="1373145" y="2014033"/>
                    <a:pt x="1561445" y="2014033"/>
                  </a:cubicBezTo>
                  <a:cubicBezTo>
                    <a:pt x="1749745" y="2014033"/>
                    <a:pt x="1902391" y="1861387"/>
                    <a:pt x="1902391" y="1673087"/>
                  </a:cubicBezTo>
                  <a:cubicBezTo>
                    <a:pt x="1902391" y="1643675"/>
                    <a:pt x="1898667" y="1615133"/>
                    <a:pt x="1890450" y="1588219"/>
                  </a:cubicBezTo>
                  <a:lnTo>
                    <a:pt x="2093156" y="1385512"/>
                  </a:lnTo>
                  <a:cubicBezTo>
                    <a:pt x="2142229" y="1470075"/>
                    <a:pt x="2168674" y="1568493"/>
                    <a:pt x="2168674" y="1673087"/>
                  </a:cubicBezTo>
                  <a:cubicBezTo>
                    <a:pt x="2168674" y="2008450"/>
                    <a:pt x="1896808" y="2280316"/>
                    <a:pt x="1561445" y="2280316"/>
                  </a:cubicBezTo>
                  <a:cubicBezTo>
                    <a:pt x="1226082" y="2280316"/>
                    <a:pt x="954217" y="2008450"/>
                    <a:pt x="954217" y="1673087"/>
                  </a:cubicBezTo>
                  <a:cubicBezTo>
                    <a:pt x="954217" y="1337724"/>
                    <a:pt x="1226082" y="1065858"/>
                    <a:pt x="1561445" y="1065858"/>
                  </a:cubicBezTo>
                  <a:close/>
                  <a:moveTo>
                    <a:pt x="1561445" y="580076"/>
                  </a:moveTo>
                  <a:cubicBezTo>
                    <a:pt x="1790175" y="580076"/>
                    <a:pt x="2002494" y="650333"/>
                    <a:pt x="2177834" y="770690"/>
                  </a:cubicBezTo>
                  <a:lnTo>
                    <a:pt x="1968030" y="980494"/>
                  </a:lnTo>
                  <a:cubicBezTo>
                    <a:pt x="1849962" y="907198"/>
                    <a:pt x="1710422" y="866794"/>
                    <a:pt x="1561445" y="866794"/>
                  </a:cubicBezTo>
                  <a:cubicBezTo>
                    <a:pt x="1116142" y="866794"/>
                    <a:pt x="755153" y="1227784"/>
                    <a:pt x="755153" y="1673087"/>
                  </a:cubicBezTo>
                  <a:cubicBezTo>
                    <a:pt x="755153" y="2118390"/>
                    <a:pt x="1116142" y="2479380"/>
                    <a:pt x="1561445" y="2479380"/>
                  </a:cubicBezTo>
                  <a:cubicBezTo>
                    <a:pt x="2006748" y="2479380"/>
                    <a:pt x="2367738" y="2118390"/>
                    <a:pt x="2367738" y="1673087"/>
                  </a:cubicBezTo>
                  <a:cubicBezTo>
                    <a:pt x="2367738" y="1513043"/>
                    <a:pt x="2321108" y="1363890"/>
                    <a:pt x="2239307" y="1239362"/>
                  </a:cubicBezTo>
                  <a:lnTo>
                    <a:pt x="2445928" y="1032741"/>
                  </a:lnTo>
                  <a:cubicBezTo>
                    <a:pt x="2577451" y="1212149"/>
                    <a:pt x="2654457" y="1433625"/>
                    <a:pt x="2654457" y="1673087"/>
                  </a:cubicBezTo>
                  <a:cubicBezTo>
                    <a:pt x="2654457" y="2276741"/>
                    <a:pt x="2165099" y="2766099"/>
                    <a:pt x="1561445" y="2766099"/>
                  </a:cubicBezTo>
                  <a:cubicBezTo>
                    <a:pt x="957792" y="2766099"/>
                    <a:pt x="468434" y="2276741"/>
                    <a:pt x="468434" y="1673087"/>
                  </a:cubicBezTo>
                  <a:cubicBezTo>
                    <a:pt x="468434" y="1069433"/>
                    <a:pt x="957792" y="580076"/>
                    <a:pt x="1561445" y="580076"/>
                  </a:cubicBezTo>
                  <a:close/>
                  <a:moveTo>
                    <a:pt x="1561445" y="111642"/>
                  </a:moveTo>
                  <a:cubicBezTo>
                    <a:pt x="1890473" y="111642"/>
                    <a:pt x="2195731" y="213411"/>
                    <a:pt x="2447076" y="387744"/>
                  </a:cubicBezTo>
                  <a:lnTo>
                    <a:pt x="2453780" y="494744"/>
                  </a:lnTo>
                  <a:lnTo>
                    <a:pt x="2309436" y="639088"/>
                  </a:lnTo>
                  <a:cubicBezTo>
                    <a:pt x="2099826" y="485554"/>
                    <a:pt x="1841132" y="395669"/>
                    <a:pt x="1561445" y="395669"/>
                  </a:cubicBezTo>
                  <a:cubicBezTo>
                    <a:pt x="855947" y="395669"/>
                    <a:pt x="284027" y="967589"/>
                    <a:pt x="284027" y="1673087"/>
                  </a:cubicBezTo>
                  <a:cubicBezTo>
                    <a:pt x="284027" y="2378585"/>
                    <a:pt x="855947" y="2950505"/>
                    <a:pt x="1561445" y="2950505"/>
                  </a:cubicBezTo>
                  <a:cubicBezTo>
                    <a:pt x="2266943" y="2950505"/>
                    <a:pt x="2838863" y="2378585"/>
                    <a:pt x="2838863" y="1673087"/>
                  </a:cubicBezTo>
                  <a:cubicBezTo>
                    <a:pt x="2838863" y="1382650"/>
                    <a:pt x="2741936" y="1114852"/>
                    <a:pt x="2577529" y="901139"/>
                  </a:cubicBezTo>
                  <a:lnTo>
                    <a:pt x="2706681" y="771988"/>
                  </a:lnTo>
                  <a:lnTo>
                    <a:pt x="2841540" y="780437"/>
                  </a:lnTo>
                  <a:cubicBezTo>
                    <a:pt x="3019168" y="1032973"/>
                    <a:pt x="3122890" y="1340917"/>
                    <a:pt x="3122890" y="1673087"/>
                  </a:cubicBezTo>
                  <a:cubicBezTo>
                    <a:pt x="3122890" y="2535449"/>
                    <a:pt x="2423807" y="3234532"/>
                    <a:pt x="1561445" y="3234532"/>
                  </a:cubicBezTo>
                  <a:cubicBezTo>
                    <a:pt x="699083" y="3234532"/>
                    <a:pt x="0" y="2535449"/>
                    <a:pt x="0" y="1673087"/>
                  </a:cubicBezTo>
                  <a:cubicBezTo>
                    <a:pt x="0" y="810725"/>
                    <a:pt x="699083" y="111642"/>
                    <a:pt x="1561445" y="111642"/>
                  </a:cubicBezTo>
                  <a:close/>
                  <a:moveTo>
                    <a:pt x="2909110" y="0"/>
                  </a:moveTo>
                  <a:lnTo>
                    <a:pt x="2926757" y="281655"/>
                  </a:lnTo>
                  <a:lnTo>
                    <a:pt x="3208412" y="299301"/>
                  </a:lnTo>
                  <a:lnTo>
                    <a:pt x="2863230" y="644483"/>
                  </a:lnTo>
                  <a:lnTo>
                    <a:pt x="2685547" y="633351"/>
                  </a:lnTo>
                  <a:lnTo>
                    <a:pt x="1718098" y="1600799"/>
                  </a:lnTo>
                  <a:cubicBezTo>
                    <a:pt x="1729236" y="1622491"/>
                    <a:pt x="1734939" y="1647123"/>
                    <a:pt x="1734939" y="1673087"/>
                  </a:cubicBezTo>
                  <a:cubicBezTo>
                    <a:pt x="1734939" y="1768905"/>
                    <a:pt x="1657263" y="1846581"/>
                    <a:pt x="1561445" y="1846581"/>
                  </a:cubicBezTo>
                  <a:cubicBezTo>
                    <a:pt x="1465627" y="1846581"/>
                    <a:pt x="1387951" y="1768905"/>
                    <a:pt x="1387951" y="1673087"/>
                  </a:cubicBezTo>
                  <a:cubicBezTo>
                    <a:pt x="1387951" y="1577269"/>
                    <a:pt x="1465627" y="1499593"/>
                    <a:pt x="1561445" y="1499593"/>
                  </a:cubicBezTo>
                  <a:lnTo>
                    <a:pt x="1591006" y="1505561"/>
                  </a:lnTo>
                  <a:lnTo>
                    <a:pt x="2574981" y="521587"/>
                  </a:lnTo>
                  <a:lnTo>
                    <a:pt x="2563928" y="34518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37" name="Oval 21"/>
            <p:cNvSpPr>
              <a:spLocks noChangeAspect="1"/>
            </p:cNvSpPr>
            <p:nvPr/>
          </p:nvSpPr>
          <p:spPr>
            <a:xfrm>
              <a:off x="3519093" y="2547896"/>
              <a:ext cx="382609" cy="385816"/>
            </a:xfrm>
            <a:custGeom>
              <a:avLst/>
              <a:gdLst/>
              <a:ahLst/>
              <a:cxnLst/>
              <a:rect l="l" t="t" r="r" b="b"/>
              <a:pathLst>
                <a:path w="1652142" h="1665940">
                  <a:moveTo>
                    <a:pt x="898689" y="548008"/>
                  </a:moveTo>
                  <a:cubicBezTo>
                    <a:pt x="737950" y="504938"/>
                    <a:pt x="572731" y="600328"/>
                    <a:pt x="529661" y="761066"/>
                  </a:cubicBezTo>
                  <a:cubicBezTo>
                    <a:pt x="486591" y="921805"/>
                    <a:pt x="581980" y="1087025"/>
                    <a:pt x="742719" y="1130094"/>
                  </a:cubicBezTo>
                  <a:cubicBezTo>
                    <a:pt x="903458" y="1173164"/>
                    <a:pt x="1068677" y="1077775"/>
                    <a:pt x="1111747" y="917036"/>
                  </a:cubicBezTo>
                  <a:cubicBezTo>
                    <a:pt x="1154817" y="756297"/>
                    <a:pt x="1059428" y="591077"/>
                    <a:pt x="898689" y="548008"/>
                  </a:cubicBezTo>
                  <a:close/>
                  <a:moveTo>
                    <a:pt x="952303" y="347916"/>
                  </a:moveTo>
                  <a:cubicBezTo>
                    <a:pt x="1223549" y="420596"/>
                    <a:pt x="1384519" y="699404"/>
                    <a:pt x="1311839" y="970650"/>
                  </a:cubicBezTo>
                  <a:cubicBezTo>
                    <a:pt x="1239159" y="1241896"/>
                    <a:pt x="960351" y="1402866"/>
                    <a:pt x="689105" y="1330186"/>
                  </a:cubicBezTo>
                  <a:cubicBezTo>
                    <a:pt x="417859" y="1257506"/>
                    <a:pt x="256889" y="978698"/>
                    <a:pt x="329569" y="707451"/>
                  </a:cubicBezTo>
                  <a:cubicBezTo>
                    <a:pt x="402249" y="436205"/>
                    <a:pt x="681057" y="275235"/>
                    <a:pt x="952303" y="347916"/>
                  </a:cubicBezTo>
                  <a:close/>
                  <a:moveTo>
                    <a:pt x="971799" y="275155"/>
                  </a:moveTo>
                  <a:cubicBezTo>
                    <a:pt x="660368" y="191707"/>
                    <a:pt x="340256" y="376524"/>
                    <a:pt x="256808" y="687955"/>
                  </a:cubicBezTo>
                  <a:cubicBezTo>
                    <a:pt x="173361" y="999387"/>
                    <a:pt x="358178" y="1319499"/>
                    <a:pt x="669609" y="1402947"/>
                  </a:cubicBezTo>
                  <a:cubicBezTo>
                    <a:pt x="981040" y="1486395"/>
                    <a:pt x="1301152" y="1301577"/>
                    <a:pt x="1384600" y="990146"/>
                  </a:cubicBezTo>
                  <a:cubicBezTo>
                    <a:pt x="1468047" y="678715"/>
                    <a:pt x="1283230" y="358603"/>
                    <a:pt x="971799" y="275155"/>
                  </a:cubicBezTo>
                  <a:close/>
                  <a:moveTo>
                    <a:pt x="1652142" y="394531"/>
                  </a:moveTo>
                  <a:lnTo>
                    <a:pt x="1649662" y="403784"/>
                  </a:lnTo>
                  <a:lnTo>
                    <a:pt x="1647140" y="399895"/>
                  </a:lnTo>
                  <a:close/>
                  <a:moveTo>
                    <a:pt x="1158157" y="65026"/>
                  </a:moveTo>
                  <a:lnTo>
                    <a:pt x="1154679" y="271718"/>
                  </a:lnTo>
                  <a:lnTo>
                    <a:pt x="1148331" y="270017"/>
                  </a:lnTo>
                  <a:cubicBezTo>
                    <a:pt x="1200055" y="299127"/>
                    <a:pt x="1246804" y="334821"/>
                    <a:pt x="1286346" y="377149"/>
                  </a:cubicBezTo>
                  <a:lnTo>
                    <a:pt x="1470353" y="331395"/>
                  </a:lnTo>
                  <a:lnTo>
                    <a:pt x="1588305" y="553229"/>
                  </a:lnTo>
                  <a:lnTo>
                    <a:pt x="1457194" y="671432"/>
                  </a:lnTo>
                  <a:cubicBezTo>
                    <a:pt x="1473630" y="731297"/>
                    <a:pt x="1481376" y="793983"/>
                    <a:pt x="1478595" y="857704"/>
                  </a:cubicBezTo>
                  <a:lnTo>
                    <a:pt x="1642362" y="948616"/>
                  </a:lnTo>
                  <a:lnTo>
                    <a:pt x="1577335" y="1191298"/>
                  </a:lnTo>
                  <a:lnTo>
                    <a:pt x="1378614" y="1187955"/>
                  </a:lnTo>
                  <a:cubicBezTo>
                    <a:pt x="1353489" y="1229936"/>
                    <a:pt x="1323048" y="1267799"/>
                    <a:pt x="1288939" y="1301599"/>
                  </a:cubicBezTo>
                  <a:lnTo>
                    <a:pt x="1354201" y="1471932"/>
                  </a:lnTo>
                  <a:lnTo>
                    <a:pt x="1148396" y="1616039"/>
                  </a:lnTo>
                  <a:lnTo>
                    <a:pt x="992294" y="1480516"/>
                  </a:lnTo>
                  <a:lnTo>
                    <a:pt x="1011291" y="1467215"/>
                  </a:lnTo>
                  <a:cubicBezTo>
                    <a:pt x="951500" y="1486565"/>
                    <a:pt x="888271" y="1495869"/>
                    <a:pt x="823805" y="1495510"/>
                  </a:cubicBezTo>
                  <a:lnTo>
                    <a:pt x="729193" y="1665940"/>
                  </a:lnTo>
                  <a:lnTo>
                    <a:pt x="486511" y="1600914"/>
                  </a:lnTo>
                  <a:lnTo>
                    <a:pt x="489790" y="1406012"/>
                  </a:lnTo>
                  <a:cubicBezTo>
                    <a:pt x="438364" y="1376702"/>
                    <a:pt x="391917" y="1340859"/>
                    <a:pt x="352658" y="1298452"/>
                  </a:cubicBezTo>
                  <a:lnTo>
                    <a:pt x="355803" y="1305197"/>
                  </a:lnTo>
                  <a:lnTo>
                    <a:pt x="152856" y="1344512"/>
                  </a:lnTo>
                  <a:lnTo>
                    <a:pt x="46675" y="1116809"/>
                  </a:lnTo>
                  <a:lnTo>
                    <a:pt x="183929" y="1005520"/>
                  </a:lnTo>
                  <a:cubicBezTo>
                    <a:pt x="169279" y="951824"/>
                    <a:pt x="161626" y="895865"/>
                    <a:pt x="161615" y="838915"/>
                  </a:cubicBezTo>
                  <a:lnTo>
                    <a:pt x="0" y="749197"/>
                  </a:lnTo>
                  <a:lnTo>
                    <a:pt x="65026" y="506515"/>
                  </a:lnTo>
                  <a:lnTo>
                    <a:pt x="250227" y="509630"/>
                  </a:lnTo>
                  <a:cubicBezTo>
                    <a:pt x="275353" y="465291"/>
                    <a:pt x="305693" y="424864"/>
                    <a:pt x="340015" y="388679"/>
                  </a:cubicBezTo>
                  <a:lnTo>
                    <a:pt x="277984" y="197357"/>
                  </a:lnTo>
                  <a:lnTo>
                    <a:pt x="491050" y="64219"/>
                  </a:lnTo>
                  <a:lnTo>
                    <a:pt x="639843" y="207726"/>
                  </a:lnTo>
                  <a:lnTo>
                    <a:pt x="638348" y="208660"/>
                  </a:lnTo>
                  <a:cubicBezTo>
                    <a:pt x="696840" y="190256"/>
                    <a:pt x="758594" y="181748"/>
                    <a:pt x="821488" y="182440"/>
                  </a:cubicBezTo>
                  <a:lnTo>
                    <a:pt x="815140" y="180739"/>
                  </a:lnTo>
                  <a:lnTo>
                    <a:pt x="91547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ko-KR" altLang="en-US" dirty="0"/>
            </a:p>
          </p:txBody>
        </p:sp>
        <p:grpSp>
          <p:nvGrpSpPr>
            <p:cNvPr id="43034" name="그룹 43"/>
            <p:cNvGrpSpPr/>
            <p:nvPr/>
          </p:nvGrpSpPr>
          <p:grpSpPr bwMode="auto">
            <a:xfrm>
              <a:off x="4208243" y="2644948"/>
              <a:ext cx="940156" cy="1298632"/>
              <a:chOff x="4208243" y="2644948"/>
              <a:chExt cx="940156" cy="1298632"/>
            </a:xfrm>
          </p:grpSpPr>
          <p:sp>
            <p:nvSpPr>
              <p:cNvPr id="8" name="Rectangle 15"/>
              <p:cNvSpPr/>
              <p:nvPr/>
            </p:nvSpPr>
            <p:spPr>
              <a:xfrm rot="10800000">
                <a:off x="4208106" y="2644747"/>
                <a:ext cx="939853" cy="908176"/>
              </a:xfrm>
              <a:custGeom>
                <a:avLst/>
                <a:gdLst/>
                <a:ahLst/>
                <a:cxnLst/>
                <a:rect l="l" t="t" r="r" b="b"/>
                <a:pathLst>
                  <a:path w="929571" h="897222">
                    <a:moveTo>
                      <a:pt x="929571" y="731682"/>
                    </a:moveTo>
                    <a:lnTo>
                      <a:pt x="929571" y="897222"/>
                    </a:lnTo>
                    <a:lnTo>
                      <a:pt x="442770" y="897222"/>
                    </a:lnTo>
                    <a:lnTo>
                      <a:pt x="298754" y="897222"/>
                    </a:lnTo>
                    <a:lnTo>
                      <a:pt x="274103" y="897222"/>
                    </a:lnTo>
                    <a:cubicBezTo>
                      <a:pt x="274103" y="613647"/>
                      <a:pt x="176652" y="340818"/>
                      <a:pt x="0" y="123903"/>
                    </a:cubicBezTo>
                    <a:lnTo>
                      <a:pt x="116909" y="0"/>
                    </a:lnTo>
                    <a:cubicBezTo>
                      <a:pt x="291351" y="207479"/>
                      <a:pt x="400795" y="461979"/>
                      <a:pt x="432150" y="731682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dirty="0"/>
              </a:p>
            </p:txBody>
          </p:sp>
          <p:sp>
            <p:nvSpPr>
              <p:cNvPr id="40" name="직사각형 39"/>
              <p:cNvSpPr/>
              <p:nvPr/>
            </p:nvSpPr>
            <p:spPr>
              <a:xfrm rot="8013803">
                <a:off x="4524803" y="3526732"/>
                <a:ext cx="665254" cy="168284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/>
              </a:p>
            </p:txBody>
          </p:sp>
        </p:grpSp>
        <p:grpSp>
          <p:nvGrpSpPr>
            <p:cNvPr id="43035" name="그룹 44"/>
            <p:cNvGrpSpPr/>
            <p:nvPr/>
          </p:nvGrpSpPr>
          <p:grpSpPr bwMode="auto">
            <a:xfrm>
              <a:off x="4949768" y="3468925"/>
              <a:ext cx="1023989" cy="1021535"/>
              <a:chOff x="4949768" y="3468925"/>
              <a:chExt cx="1023989" cy="1021535"/>
            </a:xfrm>
          </p:grpSpPr>
          <p:sp>
            <p:nvSpPr>
              <p:cNvPr id="9" name="Rectangle 15"/>
              <p:cNvSpPr/>
              <p:nvPr/>
            </p:nvSpPr>
            <p:spPr>
              <a:xfrm rot="8033242">
                <a:off x="4933596" y="3484689"/>
                <a:ext cx="939931" cy="908101"/>
              </a:xfrm>
              <a:custGeom>
                <a:avLst/>
                <a:gdLst/>
                <a:ahLst/>
                <a:cxnLst/>
                <a:rect l="l" t="t" r="r" b="b"/>
                <a:pathLst>
                  <a:path w="929571" h="897222">
                    <a:moveTo>
                      <a:pt x="929571" y="731682"/>
                    </a:moveTo>
                    <a:lnTo>
                      <a:pt x="929571" y="897222"/>
                    </a:lnTo>
                    <a:lnTo>
                      <a:pt x="442770" y="897222"/>
                    </a:lnTo>
                    <a:lnTo>
                      <a:pt x="298754" y="897222"/>
                    </a:lnTo>
                    <a:lnTo>
                      <a:pt x="274103" y="897222"/>
                    </a:lnTo>
                    <a:cubicBezTo>
                      <a:pt x="274103" y="613647"/>
                      <a:pt x="176652" y="340818"/>
                      <a:pt x="0" y="123903"/>
                    </a:cubicBezTo>
                    <a:lnTo>
                      <a:pt x="116909" y="0"/>
                    </a:lnTo>
                    <a:cubicBezTo>
                      <a:pt x="291351" y="207479"/>
                      <a:pt x="400795" y="461979"/>
                      <a:pt x="432150" y="731682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/>
              </a:p>
            </p:txBody>
          </p:sp>
          <p:sp>
            <p:nvSpPr>
              <p:cNvPr id="41" name="직사각형 40"/>
              <p:cNvSpPr/>
              <p:nvPr/>
            </p:nvSpPr>
            <p:spPr>
              <a:xfrm rot="5400000">
                <a:off x="5557530" y="4073702"/>
                <a:ext cx="665254" cy="166696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/>
              </a:p>
            </p:txBody>
          </p:sp>
        </p:grpSp>
        <p:grpSp>
          <p:nvGrpSpPr>
            <p:cNvPr id="43036" name="그룹 45"/>
            <p:cNvGrpSpPr/>
            <p:nvPr/>
          </p:nvGrpSpPr>
          <p:grpSpPr bwMode="auto">
            <a:xfrm>
              <a:off x="6039431" y="3513963"/>
              <a:ext cx="1041907" cy="982036"/>
              <a:chOff x="6039431" y="3513963"/>
              <a:chExt cx="1041907" cy="982036"/>
            </a:xfrm>
          </p:grpSpPr>
          <p:sp>
            <p:nvSpPr>
              <p:cNvPr id="11" name="Rectangle 15"/>
              <p:cNvSpPr/>
              <p:nvPr/>
            </p:nvSpPr>
            <p:spPr>
              <a:xfrm rot="5400000">
                <a:off x="6022682" y="3572013"/>
                <a:ext cx="941517" cy="906513"/>
              </a:xfrm>
              <a:custGeom>
                <a:avLst/>
                <a:gdLst/>
                <a:ahLst/>
                <a:cxnLst/>
                <a:rect l="l" t="t" r="r" b="b"/>
                <a:pathLst>
                  <a:path w="929571" h="897222">
                    <a:moveTo>
                      <a:pt x="929571" y="731682"/>
                    </a:moveTo>
                    <a:lnTo>
                      <a:pt x="929571" y="897222"/>
                    </a:lnTo>
                    <a:lnTo>
                      <a:pt x="442770" y="897222"/>
                    </a:lnTo>
                    <a:lnTo>
                      <a:pt x="298754" y="897222"/>
                    </a:lnTo>
                    <a:lnTo>
                      <a:pt x="274103" y="897222"/>
                    </a:lnTo>
                    <a:cubicBezTo>
                      <a:pt x="274103" y="613647"/>
                      <a:pt x="176652" y="340818"/>
                      <a:pt x="0" y="123903"/>
                    </a:cubicBezTo>
                    <a:lnTo>
                      <a:pt x="116909" y="0"/>
                    </a:lnTo>
                    <a:cubicBezTo>
                      <a:pt x="291351" y="207479"/>
                      <a:pt x="400795" y="461979"/>
                      <a:pt x="432150" y="731682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/>
              </a:p>
            </p:txBody>
          </p:sp>
          <p:sp>
            <p:nvSpPr>
              <p:cNvPr id="42" name="직사각형 41"/>
              <p:cNvSpPr/>
              <p:nvPr/>
            </p:nvSpPr>
            <p:spPr>
              <a:xfrm rot="2700000">
                <a:off x="6665667" y="3762508"/>
                <a:ext cx="665254" cy="166696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/>
              </a:p>
            </p:txBody>
          </p:sp>
        </p:grpSp>
        <p:grpSp>
          <p:nvGrpSpPr>
            <p:cNvPr id="43037" name="그룹 46"/>
            <p:cNvGrpSpPr/>
            <p:nvPr/>
          </p:nvGrpSpPr>
          <p:grpSpPr bwMode="auto">
            <a:xfrm>
              <a:off x="6863408" y="2730302"/>
              <a:ext cx="1026294" cy="1024172"/>
              <a:chOff x="6863408" y="2730302"/>
              <a:chExt cx="1026294" cy="1024172"/>
            </a:xfrm>
          </p:grpSpPr>
          <p:sp>
            <p:nvSpPr>
              <p:cNvPr id="12" name="Rectangle 15"/>
              <p:cNvSpPr/>
              <p:nvPr/>
            </p:nvSpPr>
            <p:spPr>
              <a:xfrm rot="2633242">
                <a:off x="6864143" y="2847975"/>
                <a:ext cx="939852" cy="906589"/>
              </a:xfrm>
              <a:custGeom>
                <a:avLst/>
                <a:gdLst/>
                <a:ahLst/>
                <a:cxnLst/>
                <a:rect l="l" t="t" r="r" b="b"/>
                <a:pathLst>
                  <a:path w="929571" h="897222">
                    <a:moveTo>
                      <a:pt x="929571" y="731682"/>
                    </a:moveTo>
                    <a:lnTo>
                      <a:pt x="929571" y="897222"/>
                    </a:lnTo>
                    <a:lnTo>
                      <a:pt x="442770" y="897222"/>
                    </a:lnTo>
                    <a:lnTo>
                      <a:pt x="298754" y="897222"/>
                    </a:lnTo>
                    <a:lnTo>
                      <a:pt x="274103" y="897222"/>
                    </a:lnTo>
                    <a:cubicBezTo>
                      <a:pt x="274103" y="613647"/>
                      <a:pt x="176652" y="340818"/>
                      <a:pt x="0" y="123903"/>
                    </a:cubicBezTo>
                    <a:lnTo>
                      <a:pt x="116909" y="0"/>
                    </a:lnTo>
                    <a:cubicBezTo>
                      <a:pt x="291351" y="207479"/>
                      <a:pt x="400795" y="461979"/>
                      <a:pt x="432150" y="731682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/>
              </a:p>
            </p:txBody>
          </p:sp>
          <p:sp>
            <p:nvSpPr>
              <p:cNvPr id="43" name="직사각형 42"/>
              <p:cNvSpPr/>
              <p:nvPr/>
            </p:nvSpPr>
            <p:spPr>
              <a:xfrm>
                <a:off x="7224525" y="2730484"/>
                <a:ext cx="665200" cy="166711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/>
              </a:p>
            </p:txBody>
          </p:sp>
        </p:grpSp>
      </p:grpSp>
      <p:pic>
        <p:nvPicPr>
          <p:cNvPr id="2050" name="Picture 2" descr="Monthly agricultural, foodstuff exports at $336m - Tehran Tim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0250" y="1358774"/>
            <a:ext cx="2062225" cy="2075593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044863" y="46153"/>
            <a:ext cx="829425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TANTANGAN DAYA SAING HORTIKULTURA</a:t>
            </a:r>
            <a:endParaRPr lang="en-US" sz="32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47" name="TextBox 28"/>
          <p:cNvSpPr txBox="1">
            <a:spLocks noChangeArrowheads="1"/>
          </p:cNvSpPr>
          <p:nvPr/>
        </p:nvSpPr>
        <p:spPr bwMode="auto">
          <a:xfrm>
            <a:off x="147329" y="3885822"/>
            <a:ext cx="4222832" cy="2062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ID" altLang="ko-KR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inim </a:t>
            </a:r>
            <a:r>
              <a:rPr lang="en-ID" altLang="ko-KR" dirty="0" err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entuhan</a:t>
            </a:r>
            <a:r>
              <a:rPr lang="en-ID" altLang="ko-KR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ID" altLang="ko-KR" dirty="0" err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eknologi</a:t>
            </a:r>
            <a:endParaRPr lang="en-ID" altLang="ko-KR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514350" indent="-514350" algn="just">
              <a:spcBef>
                <a:spcPct val="0"/>
              </a:spcBef>
              <a:buFont typeface="Courier New" panose="02070309020205020404" pitchFamily="49" charset="0"/>
              <a:buChar char="o"/>
            </a:pPr>
            <a:r>
              <a:rPr lang="en-ID" altLang="ko-KR" sz="2000" dirty="0" err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sa</a:t>
            </a:r>
            <a:r>
              <a:rPr lang="en-ID" altLang="ko-KR" sz="20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ID" altLang="ko-KR" sz="2000" dirty="0" err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mpan</a:t>
            </a:r>
            <a:r>
              <a:rPr lang="en-ID" altLang="ko-KR" sz="20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ID" altLang="ko-KR" sz="2000" dirty="0" err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ngkat</a:t>
            </a:r>
            <a:endParaRPr lang="en-ID" altLang="ko-KR" sz="2000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514350" indent="-514350" algn="just">
              <a:spcBef>
                <a:spcPct val="0"/>
              </a:spcBef>
              <a:buFont typeface="Courier New" panose="02070309020205020404" pitchFamily="49" charset="0"/>
              <a:buChar char="o"/>
            </a:pPr>
            <a:r>
              <a:rPr lang="en-ID" altLang="ko-KR" sz="2000" dirty="0" err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udah</a:t>
            </a:r>
            <a:r>
              <a:rPr lang="en-ID" altLang="ko-KR" sz="20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ID" altLang="ko-KR" sz="2000" dirty="0" err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usak</a:t>
            </a:r>
            <a:endParaRPr lang="en-ID" altLang="ko-KR" sz="2000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514350" indent="-514350" algn="just">
              <a:spcBef>
                <a:spcPct val="0"/>
              </a:spcBef>
              <a:buFont typeface="Courier New" panose="02070309020205020404" pitchFamily="49" charset="0"/>
              <a:buChar char="o"/>
            </a:pPr>
            <a:r>
              <a:rPr lang="en-ID" altLang="ko-KR" sz="2000" dirty="0" err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idak</a:t>
            </a:r>
            <a:r>
              <a:rPr lang="en-ID" altLang="ko-KR" sz="20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ID" altLang="ko-KR" sz="2000" dirty="0" err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enarik</a:t>
            </a:r>
            <a:endParaRPr lang="ko-KR" altLang="en-US" sz="2000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14:gallery dir="l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5"/>
          <p:cNvSpPr txBox="1">
            <a:spLocks noChangeArrowheads="1"/>
          </p:cNvSpPr>
          <p:nvPr/>
        </p:nvSpPr>
        <p:spPr bwMode="auto">
          <a:xfrm>
            <a:off x="698500" y="173426"/>
            <a:ext cx="11084791" cy="646331"/>
          </a:xfrm>
          <a:prstGeom prst="rect">
            <a:avLst/>
          </a:prstGeom>
          <a:solidFill>
            <a:srgbClr val="FFDA3B"/>
          </a:solidFill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ID" sz="3600" b="1" dirty="0">
                <a:latin typeface="Century Gothic" panose="020B0502020202020204" pitchFamily="34" charset="0"/>
              </a:rPr>
              <a:t>TANTANGAN PERSAINGAN HARGA</a:t>
            </a:r>
            <a:endParaRPr lang="en-US" sz="3600" b="1" dirty="0">
              <a:latin typeface="Tw Cen MT" panose="020B0602020104020603" pitchFamily="34" charset="0"/>
            </a:endParaRPr>
          </a:p>
        </p:txBody>
      </p:sp>
      <p:sp>
        <p:nvSpPr>
          <p:cNvPr id="6" name="AutoShape 2" descr="Mengenal Tanaman Porang: Manfaat, Harga, Budidaya, &amp; Nilai Bisnis ..."/>
          <p:cNvSpPr>
            <a:spLocks noChangeAspect="1" noChangeArrowheads="1"/>
          </p:cNvSpPr>
          <p:nvPr/>
        </p:nvSpPr>
        <p:spPr bwMode="auto">
          <a:xfrm>
            <a:off x="892175" y="85883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7" name="AutoShape 4" descr="data:image/jpeg;base64,/9j/4AAQSkZJRgABAQAAAQABAAD/2wCEAAkGBxITEhUTExMWFhUXGBcYFRgYGBUXGBgVFRgXFhgXGBUYHSggGBolHRcVITEhJSkrLi4uFx8zODMtNygtLisBCgoKDg0OGhAQGy0lHyUtLS0tLS0tLS0tLS0tLS0tLS0tLS0tLS0tLS0tLS0tLS0tLS0tLS0tLS0tLS0tLS0tLf/AABEIAKgBLAMBIgACEQEDEQH/xAAbAAACAgMBAAAAAAAAAAAAAAAEBQMGAAECB//EADsQAAEDAgUBBgQFBAEEAwEAAAEAAhEDIQQFEjFBUQYTImFxgTKRobEUQsHh8CNS0fEVB2KCknLC0jP/xAAZAQADAQEBAAAAAAAAAAAAAAABAgMABAX/xAAlEQACAgICAgEFAQEAAAAAAAAAAQIRITEDEkFREwQiMmFxgRT/2gAMAwEAAhEDEQA/ACHZKR4guqbXbIrAZsahiLcIyrTDRqK8+DUj0p3FA2GpdVxjsua8WCiZig5wbMSmgYGR4plWvBBZPNO0OAc2bJNTw9UNkL13H5W2oNkorZEAzSAh266M4WUXL65dZ6YUsvvLUVT7NO1Gdk/wOCDWwmYsYiXEt0N2uuckxxLoNk0rYcukFJfwD6dUECyk44KXk9DwlYBq5bhQ46kpwziWwmeAeQY4UlJh6keOdAghLRlzXX0qz16IcEJQpwYTsyRWMf2ca+CAuMLkY5bt5K56QNgh6lVoN7JGn5HTrAJl9FrLQmVNrH2MJHUr+IkFMsrHJWjoMiDHdl6DnB2kfJDZxkbe60tAVjq1gAlxql1zsj2yS62in5b2cdsRuoK+VmjXa4XXoOEqtPRQZnhGuvZLG07ZL4/A0yXFRSAKpvbpwrkUvcp1g3uuFSs8rP8AxbQATY8FWjzN4A+JJWUztBl/cvAHI+yVNZdWLtex5qskG9vcoPEZLUpt1m45XTCSpE2mQ4dqPaRCVivCNwZlMwIBxrZK6weEnhMzgpKa4PL4C5+TkpFFCwDD5YOinOVCNk00wuqb5U4fUyRnxJlYxuUqvYrL3A2C9M7gO4XDsoa7hdXF9Q5bJS41HR5d+GdyFKzDL0ar2dbGyVYjIQOF0qcfJCan4Kh3K13KtByJc/8AALOcBOvIXXL8a1oELWZZ94msmxMKh0c65lMX4Tv2hwdfi68iPG4PJ7U+RSWB7nlFwAqUnEEdEuy/tBXNQB5mEVluoN0vKGx1FrTIVLtUT0XKhnMgI3DY4PMKj5c8kbojA4xzagnqg7QyyXoURK2/DM3SzEYghoMoapjiRuqLkwJ0DK5YEO6mHXhJa9SoXeG6c4Km4tg7pZciSN0ybpyAYRWW1DNxCKwuHDRdQY2pHwrmUy2EMqmIgXSfFZmAbLqpUc5kHdVLMX1aT9RBLU1uRtIt+EzQk3QuetqVBLCluAzBtRtt+iOweZxLXBZXpmdPQsw1F7TLiSOVZ/xzdAhIH4waiPkswztVmoOXgyXse1cX4ZU+GrNLLoKlQIbD5HsgcVmTaZDQCZ4G4CPR2ByT0T1X1AfALcqSpUquHhc0X3cCfk0FROxWkEnmIm8eyXV8yqAtcwUz1adWpw4AiwvF1RRQrbsf4PAYqn46lVpYb2p8fNQ5pkPfDX3kRdsD7hQuzOq2m0OLWCSDqBAaTJidW3tyiquKxNItYaTHtLdRLH2mYi4BkWsrRUPCIvsI39lKjqoD6htcQ0CfWZBR5yIvb3fxQSAYLZ089Cosv7QVm1XCrTeG6rEiTMgCPFZu3CztPndFzmNdUfSvYs0uvtBIKOKNTKlnXZGk2HCuATHhAG7iA0b2menBVtyLs3hMPS/q021Xk7ucXW9LCd+FSsyoaqTakkgOeDa/xugyL2mEJgc3r0/BOpnhgOufCbAHcDf5lJOUnH7WPCEU8o9eq9l8JXYHU6OkkS1zDpB9Rsq1neWHCuawiJBIPUfaUZ2Q7W96HthrQyIGqRBkes26Qgu1XaM4r+jSJY6lLpLbkeJr4B6W4UHlZ2NVP9CquLIembreHrgyCoXm6RIA2YLKanXhD4Y+FZXpFPwyadC8kVQ2p4gEJTmdYBdYQFRZvRlq74q2cknSFozNq6/5Niq2MYQ7dQCeq6P+dHN/1NC6mwwmeVYt9Nwg26LPw4JsiKWBPC45yTWT0YrJZ8Hj2O336IunQY8xKqj8I8FNsgDi+HGFzJeUXH9DLWjYqQ5eBdSC3KixeMERKPazJUGl0s3SfE5q1tlrBY/dspBml3laKZmx/hczDblEYXtK0Pg2CpL6rpiVDUxYa4alnxWJ3yem187Dh4Soji3QqRg8wE2Kb08wk7qMuKikZDv/AJNwtyhsVmgdLXBDtozcFJsxa41AAVoqxm1QXTfodqabKV+bNcbboM0iIE7qbLMpGrUfhH1PRUWRbGeX0X1Dq2b1NgndBwYIZ72QrWS2G3jjYD3KndX0EGGnSP8AxnrZbEXgFN7C8RjXOAB242St+JDHDwayfOI94W6mL1kuJuT6D9ly0Dfn9ErkMkH4mozSDB2vz9VFgGUwdQF/P6WUbXyRG385XL6m+k3H390O7CkS5lg3VQHAkgbiBv5efqmeUOqwzXpsTJAIkG0b8bInJ6Y7kvBdOz2mIHEgD2uuMQbwLc7/AKqylhMm1doK/G0HPDHiH3g2iR1IKCzHJKNX4mg9LA773S1uWMfUDnAHkTf+fsrFSEN22+ipGTksiuKjopGLo93NAxDdTgB8UOeS0Fp+KQfyncEJJmmSFjnPbOkRYiCCYkG+9xZWjtDhKrqoq0YlkRc3F5BHTbb9EuyzW8OD3/EYLKhkhrdiHR4hHW40pGgplcyzBF7z3bzTdEQDEidvPn5p/g2RUpavC9rtIdGrW0QCHN5IbPIt6BZ39GgajaEvqn4jANMN5kyZ3NhcyucmNEOh1U97pmm3cOcTtB2Ecyg1ZrBc8yl+H8Qe14vBbOw2kHbhK8JjNRXpn/C0nsLy0uD2aXtnYGCCJ2d8l5ZmWVVMJWLHjwknQ7hzZsf2TuFqyd5wWfB1bIplYFVpuOgLlmYkmyXhiDkZb6LwhMzrABBYLEEoPPKroK61gjVgdfDtcVH+AYlbMU/oV0cY/oVX5mRf08WQ4IEFWfLsMbEoPLct8SdVsQ1jYXlcnJeEenCNHGOw8CQlAruDpCc0MW0sMpFVxA1W2lDjTDJocUcxt4kNiq5dshXUy4SLKBmN0WVOgvY3h3lj5JQ+ZYiXSFxjMTKCbiRyqQXkSTJGVZMlAZi+XWROJcDshqjYurJZskyLDVS0pkMUTsgGPBsuWv02WlFMydD7BZy4GCVP3hc6ZVdZ1Vm7LYQ1XATA3cejQockEsopGV4Y7weGkSfmmrmBrfZBh7Q46TIbZvTotVHEgAuv+gSVQ+ySrUMCL8QFFVktAd+xQn4ggEcC8/ouqWOpkQPjJaAXbNB+I+SnIdBY8I+wCGq4nZxI2v5xOxn+QtYyge80t1ODQZ+5M+/2UfctdubfqdvrCnGSHodYLG0XsMAtjaTJJ558wpabQb7BJsBg3AwSOdjv5G318kwxsd2GsMuLrkcATMrS9Gsf4J5IIb0g+8+JaoS0XvxP3KhyrGlrNLoi32H+FJWxYa4Q4g7EmBFr2HumixWSGobFsbkEciCJPn7LKuOa1wBkav8AJ6e6GrP8QMlzJtFrmensh83wrXgbtNy29x6/JU7UCvY1Y0HY8EDyNvL1QtXKKLz46Ycb3gfXopsiwga0AmTeZJJ+ZUXajFupsc9jw07QZuYMj7HrZPH7hHhg+nDsqNpRpcZAt/jiwUOGySm6qAdAfcgkkfDvtyefRDdlMaHMa57nOds0NLXad/i1AzfiQmWluIpydzMkWvP2nla/QWqH2Bod09wJEkAW2PIPrdJv+oGTOrUZYJcDqaPPYj3UmDovpjQS50Xkkk7dU6DmuZpLh77joqQnaojKNOzwzuKhkQbIjL8OZur5muB8Zc0RPxR16+6VPygkytxKTesCSlTpkFGGqR9IPCYDJrea1QwxYbhdDg2L2QsZlDeQpBlLPJWajhA4Iark7ptKV8Ug/IigMx7hsuauJ1G6XNqWXTKwXN8STL9w9tWLKKtS5BUbKoIhRPraOZVEhXIIp41zRCOwGEa9pcTdJ31w5aZj3M2KDg3oykT4hniI4CAxoaNlupjHH3Qj3cqkYtCuRNhQiK1OyBpV4KmfikWnYE0DvGkysqum64q1ZKx7CQnFO6LSdlY8vqup6YmNnRyq9hHFpVmw2OHdBgImTbmIUeW7HgHfig6zLdJW69cwWFrS46SH6jIbu6Gjcm2+ygy+kXnS1pJALjHDW7lQ06Ya4nSbiQTNwRPIUWVO6lePCCTe5Pzj6rA3SZG52Hooa2PokBjKZ1iNTibk/mAA449lJqcC0kem8T5JZRYyY3wj3GnpY5oquJ7wOeGyLRp1GOTyhxrY7+oLHa99r+yAfmJo1W1AxriLidp+S7xObVcQ/vHhoIAEMECBPWepU+lobsOsPibWiZ9LX58kVWrCZG3Xz/kpBgMywrW1DVDn1NmN8Qa0G023O/lC1SruOp19M2+XPKT4WgqRZaWJnrHl/LbQgcZmpo1O802E38yNx7cKPLM2aWkQNXJ2tvv7rjFUw+7jI6T6mZ6oJK6GsZ4DO3OBcGmIgbcWkn9k2wtaTqaR57Hrb1sB7qvZTmFOg5sGAHTBjY/Tef4FYs1ptNMVqZPd21AAWB5cOsmLItijHWARBbPFjN+DaFW+0WX16suY4A3Ba6HSCNJAEW6ozC51TEMEnrxEcj6BHDMNUNB3mBzvHCPZRSYKZ5vgssxFIuJloIgXESXc9OYI5IV67NM7tsFrm2GprnAnUBBIgCGgaVmIpwTrcBE2IO2/NuAocswJFRzvxLWtc6dJa0mbeEvJJDd1RcnbOgdaLHSxrC2RY8i07cqJ2Io1dNRp2sRyCLEGOEPiaRIinHTj7cJDl2FNOs4/CSbng/ss+SkDqvA3zik81GvpNJAI7xv/AGzpnziZRjKABSV1Z4xLHB5i4dHwlp+94VoptaV2fTytNnLzYoiFLyXFfCtIXVSuAVK0hwsuqyArcSzZdMzcchG1qUC6AfQZKawHi1V0IZtS63iasuK6wLRN1zJYOmxhobpmboalT1u8goMS4gmNlNSxGhqCi0ZsJrvaLIKq8KCpVm64LSiog7Ejqqic5aFJx4RlHAmJKehbBwyVPSwsohmEcdgiGYVw3WwDJC3BgLYphbqMcTAlc/gqm6Fo2SR7GwisLiaRphumKjSRI/M08nzS44Z54UmEwxYS5wPQe6nyU0PC7D/xLmzocRIgwYkHcInH5pWr6S4t0yQ1oIloaIjrERugcTWBcwNtAvYb3v5qaGyA1rh4fESR4ndWgbBQawXs1QeKbi4AE7wRYmxAI6H9VLXzCpWIcWCm03Y1rQxumTsBv68rDTYSIfrOkEyPhP8Ab7WQ7aJmxMAmOgE7eSFoNE1en1Fx9ii8HR3AvIMev8C1Wwbm02VHPY3UdIG7o3mx+nmpsJUAIc2XN6xH+rqM8LA6F1JpbPXaP0+qYZcKhqaKZp6iCC2oNQuLkCCAR/daEK+5OrYnjqhg5zahcx2kGRLdw09JP8uni2wMsOIwXdVAxzm6tINojpuLQbrdUQ0HrsLc8+iroruEucSXdSSTEJlTLGubD9R5tInpvcKc4u7GTHmBFKqx1N8B24Nrz67EWUGKc6k2BWFRs3aYgjYiBz5oU1Q8kn4vKwjql9epfny/nsoxi7HbwSufrcHghsRttPP88lYcsx1NgBqXPPp9oVXpug+XEf7vt9EU2o0ixG+37lNOLbAmP8d2ip1qb2D/APpP9MaQBvA28idzwlmDquJDn0w0iGuuSXHbUZ29NroGixodqaL9bAgxMyiTiZmAQfXcx16J27VMCxotuFzrDAOpkkktHBHi58QMGekWQWMuC4C1zePVV/D0zqD4ixJmJ6p0MXTdScWOJc2NTTAFzx1OyhOLbSCsZB6NU+GbCYlWOljg9uphmDDhyCFWMxJY5rXT4gHAeu31+yt/ZvBhuHDYuSS49XE/6HsvR+ltYOTnVqwR+N1VqVIfma9zvRsAfV30Xb8QaZ8kBTpTiatRt2sikPX4n39YHsnLMu7wXXasnMzVPNGvsoq1EEyCk2KwTqFYG5arRhTSc0EFMA8EZldQ8QiKeUuF1b64E2C5bhC5J1KWVluXO5RdHI9YVjpZfJhMqGE0CyWWNBRV6PZbrZF0uyzR5q10ME4iV21oG6nbbDhFPdkoBsFIMpkXT+oyXQF3UwJAklM3WzLJX6GCAMKeplQ3TrD4UOG1+q2cKGC5SN5DgS08vaOLrp+XTwnuFwwcJQ+IwNSZGyCyzXSEZy+DACgzzBltDU0CARqmZvyFZm0XtElhPpCIpYLvWlpbLSIKZxvBlKsnmQbyGg+fPoCpnU3aNcQ3VpmROreANyIU+MpGm99MiNLiI8txJQNdjS4O8vqoPZZaN0mQZUr6jQYDg46QSRIAJElt+QbIQPvvafoicHS1vnZgGqoeg6DzMLNew2Blpc6PPb34TDC1ojbZQ1s0L5axrabOjRBI/wC525Q4rQhKLkgp0MXuJk2n6FbDxDoI8O8kWkjbk+3RcnGUQ0CmSSRDpmQfcevyQpgmYuf9JFEZsLwuMptfNUS2Db12n2lbxGNY4lzKbWAQAGjTIHJjk8oR1AEkCxt/PTdMaGEqV3wDJgSfCAGi0wIFtlsAycvzCm6jTBtVDna4BHgO0umCZJUuNYGUm1N2uuJIm4mdINkJ2gw9QVXNedThAnw/DaBLd4EcIWgxzwNTiYEAG0ATA87RdN0js3Z6HrsEyrUpsw9XW5zNVWYa1rhAIB99rlaxmSPw7ZLhYw5p3iY1DyN9kqqVXU3NNM6SNiPQfopK1d9Sm1z6pe6TLS0jQQbeL8wMk+UIU3/DY/0OovbpBN78TAPTVtzsocTimNg7iYMcDy89/otZRm1TDCtT0h7KzC2/5ZIkj2i//aOi5/ChxdpENdsCQSDwCYEn2QcVHNhTsZYzMqLmsFAEQPFOox/7JPBuR8R2XeHw2kkC6lY8QeADE/Kf0RilYGw19R1VrTUfJYyAdjvYBWnsxiPw2GqVHvLmgAtbMnVwPUkqmVNTWOgeZ58I5Cs+UMa8Un0702eLSeavU+n3VuOKTRHkdotuQ5aG0AHfE6Xv/wDm86nfUrmmXU36Tssw+YahGxU9YB7LHxBdlHKnkmxmFp1G3SR+QuBhj/CmOXYgGztxuEeajELCed0sNG6JYyBsiu5i5Ub38ALVYx3hMA5xTatSaxtwoss8IncrpzH1XREBI3nOjV6Aq2OMQ1QspONyYTWplwYLXKDaCSZFkVLt+AGq2QNpEXaC5R0y9xGqd7hWHB1w2npayT6KBmEcJc4QlWNhs4q0gLN6ILDYXxEvPop34nxEMueq5IMy4oJM1nLwRZoMLXfuBAOyJpYtxOlglMsDlN9dRUSoRyIMuwzql+FDmtKpQeH0rsNqjf8A7DzViNYAQ0QEpzB8ghhBchJJ+TRlRSe3GAaQytS8WqQ8AX63C8/rvl38BXpVPL8Q/Ww1u7sS2OvAM8Kg59i3ufofo105aXD80KFPtlHTFqqIsJgnvB0iY8x8r+SmwmLFJr21GEsqCCRa4n+eyX4fEkECYTOq4FsOuB9kk7Wx4/oWtqg8R0XJhRuIkxtwuQ5U6gslBvZH4ehUeNbYhto1XtEwPdLNa2yq5swTB3HCDjjBkxkat77/AM/wt0cW9hljomAbTbe8+yX0uZ/nqpG1Oo6JXBB7B5e5xLnkmdzHO3pC7YJ29OPJAmvt/P5+y6binaY/2kcGN2QZUpHSfkdub2UxxTnMY12n+m3SIEE3mXXub7+SAp14IkWW6mIgnTyenl/r5odXo1oYvcLH+eS5p17j9UtFVx3MqWi9s3MDn/Hqf0WfGHuGnFu1nSI2seLAm3rKkwLqOisHu0kMloP5nkmAPVD5Zi6LqjjWkNJneNztJUOPpsNf+g0924ambvMXjVPMjZPGFISUiw5Rljq9bS5p7tkF54829D091b8ypMYAaYDW9AIH0XHYmjUrUH95paDpawNaAfCLucRYzb5I3FYct8LoI8l1ccF1yc05vsLMDjQCCRzdWk1GuaH0x6qp1MGQYYLJhkWZFrtJuOiqnYjRvtBTc2MRSFx8Teo5W8ux7KtMPDt/umOLJk+HwlVPHdl3OeXUajmNNy0cO5/RJKNjJh2FrHdwlG0iSRFOyNpZSAJebBQvfULh3caePNJKSf4oyTWyaWA3cAeijFas6e7ZA69VqplZJJcQHbprQDgwNFuqT41vYez/AIKKFFznEumUVTwjB8Th6KfEODW2IHUlVPF5s6pNOk2STd/HsqNt4QqRbcXm9Gg2LF3AFykFbG1axl/hbwAh8uy9rTqqHUepTTHZhSpsBMEn4WjdLoNEAxTabTACFptfW2sFFhcLUrO1vsOGj9U/p0WgW4TdwdSbLKTaTeJRpxOoTIVZrYnSSN/ewVbz/tWGNNOkb8kfYIZezV6H3abtU2iC1t3eSrmUYytJq1HGXbNlK8BgnO/q1d9wD9yj34oNiLlbDGqh1ica4gAjTPzSfM+z1Gs1zm+GpuDNiekIPGZqTuf2XVPMwLztunXXyK78FLxFItMOBBG4KynUMESY6Kw57WbWvp22PPzVZxZAdbZTdN0iybrJJr6rpjgUKHKamyQT04QoNnU3RlWiAzVqbJtAvxz0QmGaHODZAkxJ6rK8tJbBEHY8HlK02wphmCa506WaiI1dI4JM9ZUBfJXDKhAN4GxAME2PHRcMcJE7c+i3XLNYQBHn7+625ygrV9426/zZdV8Q1wAayI3M7rUawhlZugi5fPtCge+PP+So6tcRFp8tlC93XnbzRUTNlixFWgKdM09cx/UJkNnSfDtcl0bJWwOe1z99MSJvcwI68IE1iR5Ttx8lNhy7YHwk+IHYxysoUBzC6AnS8U3P0CagiW7nc8CI81Zsmr0WtIDWg7tMkkE/lB91xlzgKD6bYOpp5v1lJslwdfUWCk8ybW5CdRSEbbPUOyeahrtDzY/D5HomGIoudUOkEAnd1lUsPgKrWhzxAPUj9Cin18Tp0sqnS27QADEzuTvyqftE6LlUy8FgZI7yJgcpFl+VubVE3bz/AIQeU5xjBUb3ha4MgyRBv6C6bUM3Dq727B0OZ0P90HrP3QdrIV6LJhy2NJAH9qV1mlriNJ3myjwVNmt3jdqdsCdj5Jy0SLgEpkxWii4fHAECo46eeforJl2asgd3TMD+4XPoFWX02udqczQ2QPKfJcf8x3Bc4SHGzQDNud/uhKKZky0YrFFztZZc7N/z0CX4ztCKQ0kipVOzG3DfIlVY5licQbvLWTcz9LblMMNSpU2+EQf7jclJ+kOl5ZqpQrVnTVdoafyjZM8PhmNA0X9PLqlT8WJlzjHN4stVswqVhppju6XVou/yHJ9UapAuwrMcaH+Gld/5r+FvqeSj8vyRukOce8cYlxn5BS5H2da1odUPMhn/AOuqelw2BEfQIUDt6BaNFrIDWwEJjnBwcCNLdyQY280TmGKZTYXOdDB8Tv0C8t7Rdo3V3d3TltLpy718kGjRywnOs+nVTw/wbOd/ceg8ksyrLfHrqCeQ1GZbhIAsJ46D900oNNwL+Y/dL/SuFoExL3GS2w6eSTV8UYi3rynmPwUUw4tdqcfAOreXERslOMwcC0EiOvvv0RQBHVeZUuDp/mMkcDqUTgMtdVfpEQLnp6Eqxf8AAkua3VIIPwgjbgT90asFoq2KL3DcjoALJXVwpvNvYq959ltKiGd2DrIBN5Bm23Dvkq9imHSdRE7ReeDPTn9kKoKdlbc0gpsKHdYcVHfHUPgB/sHxH9FxQwOuoxjfzED/AD9FYcZljsRUc5jR3dIBregaDFvqUJMaKxZU+9BPwtH86ox2PAgVGteIsSZPs7dM2ZOKrtNPTbqIJHJ/ZS1eyp0ySJHQEetig2tGKvXrgmWtLfKZ+qyrRcGtcQQ11wesGLdbhTVsGQ5wF4JVuzPs+dOGonenSEtHL3uLjJg7SEzaVICTabKVTquAjcdCsa28x7XXoNbsywMYaYaSPDDjGouIEyPsnNPsxTZh3sLBUdBefyy6NgRcW2RTTFbo8qGqbgekLA1znXE228gvQq2CpUBqYwvqFjSGu1TSY9oMugXdMiQRFrbqp5lhC0aoi/8AAsshF+Gwmp24F/M+0BPcLhMPp/LPGprvuP8ACHy2gdAeNwbfM/4TijTGnSQCbQfWSRA3NwmUbFGOSZBh6jfENLpuJHwzu0AzERwUs7Vh+BxGhghtnMMmY6apVjr5a8MpVAwCnpAbB1CehO825SLtrR10WmPgG/QSBE9LpnxpqwRlkbZMKmJYXAN0tILZ1S928G9x6qydmss75tR1VukutTI8JBEkkDp+6r3/AEwxYdhyz8zHn5O8QP6eyvtEG9rA+E/qQOEIYWASzsrIw5bLXWLfCfTb6EH5IHN8vfo1UyQ8XZFvEBe3QjUCrXnuG+GqOYDrTc2Bn2j3QWExR3HxNIj1Fx8xb3KoLorWV5m19IC7TsbwWuFiCeIIVip9pjpaCbgQ6Gl1x5jyhV/thlzWYhuKZajiI1BoA01QLyAN3NB92woMJWhsA1AAT8DmgEcEzzEJdD7OM37REv0UAXuJhpifZrf1XeH7Pm1XFvgkT3YPiM3Go8DyCxYt4FGdagNLY8DNhIgDyDRuosTjMNQBAmu9wgOhzQ07eFu7itrFqxZlugHLMqqVnS5uraGTDBPNR3J/7R9Ve8sydlLxO8TzuYgDyaOAsWJAv0G4giCdgNyfmlOZYtjGlz36KYEzsT6c326rFiNUJs8zz7NamKMwWUh8DevmTyVrI8jsalQxyAd46lYsU9svVItQwbQGtmDu6LgA3DbbuO5HCa4fLRp1mzWzJd4bbc/qsWJlkRlTzOu6rULnTpFmzqA8vePsl+MwzzAaD4jDRe5vMTwLLFiWQ6LN2fyynQZLhqg/1H8SeATwP50U2Ixwpue4EuqEFrA0eFodcuJ67c7rFiCk0wdUxM2lL+8cY5l13OPkD588eeyRZhQF4v8Af6WWLFRLyEFyfCOfUkWs4AwfLUQfQx7ppmFB2vumhwDbaYIMgXcRz5fusWJPI3gbZB2eq62ve3TGxJv6x/nqrRjsA2A1vmdpv/tYsSN+RfJXq2UDXRolo1PqanuDdM0qfjINzN9InzUGf5q1mJeGs1kAAnVEQbiRzYFYsWUfuyUX4f6OezGN71ni0B5NmD4oAFyNyL7qy0qXUXjpyeVixWjBI5pPIgzvKKFSv4y5j3NGh35S68z1tGxVL7aZZUoUodDhqEOExM3B6FYsSybi0kUjlWDdna76NKlV0NOrvNGqSAWuLTYEddjO6Z5Pi6Ta4qVGktv4WtaB0Hh29lixUjlGZfMyxrDRLWwQ0i2mGGSbtI2cLyJ4VU7SYPVh3tG5af8AP3AW1ipHRLyVj/pvjdGJNM7VGkf+TPEPpqXrmEfcTcfQFYsUY7HkHVIqMdTds4R+/tYqsinodcgbgyeQdp9Z+SxYnQgcMAMVQrYZ/I1MePyumQfZwB/9lQWMqNlrhpc0lr276XNsRPI6HoQsWJmNE//Z"/>
          <p:cNvSpPr>
            <a:spLocks noChangeAspect="1" noChangeArrowheads="1"/>
          </p:cNvSpPr>
          <p:nvPr/>
        </p:nvSpPr>
        <p:spPr bwMode="auto">
          <a:xfrm>
            <a:off x="892175" y="85883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8" name="AutoShape 6" descr="data:image/jpeg;base64,/9j/4AAQSkZJRgABAQAAAQABAAD/2wCEAAkGBxMTEhUTExMWFhUXFxsaGBgYGBgdHxoeGBoYGxgaGxgfICggGRomHR4YITEhJSkrLi4uGCAzODMtNygtLisBCgoKDg0OGxAQGy0lICYtLS0tLS0tLS0tLS0tLS0tLS0tLS0tLS0tLS0tLS0tLS0tLS0tLS0tLS0tLS03LS0tLf/AABEIALcBEwMBIgACEQEDEQH/xAAbAAADAAMBAQAAAAAAAAAAAAAEBQYAAwcCAf/EADoQAAECBAQFAgQFBQABBQEAAAECEQADBCEFEjFBBiJRYXETgTKRobEUQsHR8CNScuHxYgcVM5KiFv/EABkBAAMBAQEAAAAAAAAAAAAAAAECAwQABf/EACMRAAICAwEAAgMBAQEAAAAAAAABAhEDEiExIkEEE1FhcTL/2gAMAwEAAhEDEQA/ADOFpS6klRUUyw7nW/QCH83AWIEueruCkEP0tcGPv4lFOky5KAhAFg3zJ3PkmFlPjJzOVMen7N+8BfJ8NXIro+wymWoAqmKQoH4QRt16GCMSlSCWWkuWdQt7+YAwrECqZrqLv1ezexMba6cVOczdmewfQwsrToa7QLOwmakgSlhctVrG/wBIemamVLGc/AOu/fvE7TYitBZ3Texa/wCxjVxCVLRmSSobp3sNAd7aDtDrrpiPitDOZxAVLCJWqiwIA1P+rvDObPbK4BH9ytc2lh0iB4ZqwZhVZ0ps/cgEN4MUFXiYJN+jDaBNU6QcctlbHiK1rEA9GYf8jymtWolKBmexc2Hv08xNS5xmKCQ5Kiw8mK2jpBJlkAurc9YXwb01IpVJcrWLjbb6X0hfidMsZSlWZL82rgE3N9RG7Eq3LLKrLOjm2nm0T9RWqmkAKGYsLd7Q8HfWTn4Uprsw5GbSNFRLK0+nMlqyKIuxsdlCNBmpp5QTKLrJ51Eb6W6CBUYmoFwvK9rhx1t0MIqvgz86bF4itLIBNuUJb20+UK52JTSpitgFfD4hynGZSpiRN1BbOzgW+IKYMdoEqqCWpZlekFN+dJIKXDhl6KLbGK7pektb8A5M9U1SZbkOdu9yT2AivlpSEpSnlAH/AEmJnB6BciYszFAhKf6ZB1c38EaX6w0m1oQFF3zOfLgf89oz5ls+FsXF30YlSVpe7ajZ8t/3hYVKCyrQPYbAbWjPx6HCcw01d7NcDoIFVWpIKRp1s/fvE4podtWbMRqiAFpYOWJ3tpCzF5+dwACoAEML9xbWPtXWj0lW/MkA/Pb5/OE8rEJiph9MO1swD7aPGrHH7M05dCzUJSlzL52YEkj3b9IcYeklGdSkgkfCzn/caJSSoD1EjW7h36g7PtDWauWQAEsB0AEdkao7HDt2TtZXFC3UfdmtB9FUTJodCFKHUC3zhXW00tcxBWeQKcpvfoH6Q6OLISyUgBrf8GghVJJcXQOGz6+DOjoszhQKFi6TsT0jdShJ1JzE3AZn+6vaFicbKjlTdR089X2aG9HhSGdSRn3Id/nCTk36GMEvDUakS8wUxHQuOunSB5VUoKKUaEhntZizx6xbBVrYy25epZ4TpTNSsZpeVtbj7PCUP90OkLWpWWz9XsIZoLBnfvpCGlQoKIS3NqX0GzmC8qgd2FnsB9ReFbKR56M0zwHc66eIExGYMma49/nAdRTFTFE1OYbG3s8T+MYnMQFS1pKVkMAe+7wEtgtpFdKrUZQxDMIyJGhoHlpK1qzNdm/mkZDag2f8FGF1/wCLmBCSlNjmUdh+sEV2FSgSJU4qmafCCD5aNc3Cqf1nQDJexCbpL/8Ai9vYtB+KSUSkplymsCVKs5PzirlT4Kla+QHhuF1SblKc2hdaRbbfxB2Lzlyw5SpANr3vb8wtCSVOUVDTzuYosFmWKFJBSbqfQjd3tHNu7Z0VfEJaermTF5Epzl/y9OvSGVVImykZlDlJ0BBI9uniNsmbTyFKTLK0A9Ak67Em5gesrkX/ADJ3zG5PU7QXJ34BQpdYiAIm55QfO4KUvpufDwR+KJISxzks2lzaNdBQzJ0z+iQmW9y7AHcDcw9mypCAnmK1puCSLEdvMPKSFhB0E4JJMmYVTCnMBoCTlfV7M+nyMOp2KHLlJvZj1iHVVNMWsqLKDe/V+mvzgg4jm30hKb6OpJcGWK1bhm0L3b7DfvCugWfUSsA8qgdLM93O0HYFSiomKUsuhDOO5NvaDMUkhIN7A2DMIN1wVxt2Lq6tWVE63JsYCXVDcwNKoVTqnKklI1JH6dTFMcGlO5l3ZmKT7nzHbKPoFCUyWnzFKUlL/Ezd7t9oupi/SlIQC7Dl/R4nq3CEq5s4SfygAWbR4AOLqK2WrKU+w6kwklv4NF/rfSoSlRICl5nAJLAefq0LsUp/TWkkqKSX10b9IAXiDkELe20Emo9QN7/JoCTQW0zWJ4K/jaxYt9IEUhbkgwCZExdQZctgAAXPe7d4Y4hhihKVlmkLa1gxt9Id0mTVsXVWIFahKHwp1I1fdoa0mIAKRbkS3K9oisOmKTzEHyYdSq8H94eXnCUH9suFYiFJ2Fjyizvqw+UIJ2JMlnY5jp2gSmmzFlKiBk+/vB6MHl/kUQvZKjmB+kInRTrE+J14bVzoIdUOBTlJSqZMTLChYMSf0AMBYNPM6d6SpaVKS5YpHLl37RQY5MJBId2Dbh9DfpAlkaXAxgm7YTg9HJkqKvUKyOo/7DpeIskE2J0NwPGkSlOJgU0xAQGcHqPnG6tqHlkKPVjoHG3yiTlfpRRpcGkvHlKJSGYbgnbtGjHapBUgrUXKb5QNjZ/nELIxlZOWUglaiEsL6m0Pabh+dN5ps1CToOYH6D94aUa7YsZOXEhknHUywEy067qP6QSjFStLWeFauFZiQSJqFHwRpAoXlYEX06MYm1F+FFsvRlV4hl1F9wP1gXEZiZ8sczKBdKiNOoPUQprq1lEKNu8J6vGbZQPiI9gP3h44xHl/pQKq5otlWe4Dg+DGQsp8dmhIALAC1z+8ZD0xdke6nB6uWoTVgZXfKmYHHkfpDmrqpasplpTpcn6iBcbxwBJS4N9oS4NglVUH1JeWWh9VKb5J1MLdq2WfxdR6P51aEgDKFdAw/YxkrGxKSVZUhgdr32jRUcOrlm09JIF7Fj7xJ4kieHzMEhTHmF/AdyIaNS+wZJOP0UvDFAqoWZswlKSSwH0ikxDAqbKUusW1Sr94S4NVlEpItoHgufUlQzP+8TlKWw8IwUQBUxMmWJaHyi2ge51MKETiVZRqbdYOrp7Ehw7PCqRXmXMTOAcIU5HsfpFYkJe19DCdTrQ6ZiWPkH7G0eKbhysWMyABLexUWfxaBqnEDOmpUQrmWHLG4f7R0ioq0aDK4DJb9tIDk4hjBTsk8Lw+okTL5VoLZwhRzDocpAf2eGHEdXJSkrClZmu507N18QvxfFFS15Qcx8/MdoCqqvP8aUl9jp/qD102ClG0gfhnFSqslAFk3cWvY/q0XVdU5Rckjt5jklUsyp6VpsygR2baOiJxDMgkb++u8Jmj1MOGfGmFVs3OnM+giJxihXNUkISVKUWA87Q7rMSZLAXjdwVVIdc1V1JYAbPvtHQuCsnl+TSR74f4NnpYrmpAZ2Z28HeNuOYLPkDMn+oGPwhiPIioTiOdJYqDaWGh082gCXNUVcqiwZ8zElwbHz+sJ+xvrHeP6Rz7Da1XrKKnSp99RDutxFpZOa7MPMOcVwyRNBKfiCb9Qd8vTwbRz/GJU2Wu5CkA2UBvs42MVUlJ2TalBDKQkEMXIIvCzEKcy5oS59Mi1/oT1hlw/Jmzy7BKf7iSHPbrBWNYHMAY5VJ7KcjudxBUqdAcbVoNkVYZPQ6e0C1lSkLCsxaw3sf3iemYiUkJzOlre0aVVsycRLQ5J6/UwUjnIZSqxYqitAJdJCiD9fNofjG5emZ2Gh/mrwop6VMsBSwVLcBn16eBBHDtRLNZmWhKVJBy78xIDl9SA8LLqHjaY4pVT5qeWTMJsxuPuwhdjk6plS+eQsJH5imwJ1vpFpVYyALkOHFlOb/zSB6HE0sElQMslilVwezbROL+6KTX+kpwkmUEmapTLX8I6Ds/XrFb+NRl5Wv137uY5pxZK9GoUJb5H5L/AJTdMOMIWEIBnKD7DQeO8NNX0GOVfEsTjACbAAjdwfvExiy1zZwVKS5IuHGvXaDxUyZvKlKW0s4I8F4TJpvSqSM4IsQR08ddRCQS9Q8pOqZqxfhqtPP6YIbQLS9uzwvp+Gpq0vkVm6EgfQ3i9l4vdtQ2hIPi5hdxLVhYlq9TIAplKGrHbveGjkl4LLHH0kajDVoUUkTAQzjKOg6GMi+k4dIUkHMVONc2sZDft/6D9SOa8QYbNpl5FFRH9xHWLXCKkopkJQoO2vtHviCcFSi3N5BL+0Q9Lii5JyLBy/lfZ9oVPePR+Y5f9LCfiCmub/y8SmNrK2vcE6xsnVwVfNGikpTUL6IB5iNfaGgtRJy24esHxNSeTKVN0c/ODKjGn6jt0bttFFRyEoyy5aPYG/bzBtVwhIWfUnK5gbhDDUblrt2hXkjfg/65JVZrwCVKlIRPmZFEpCypQcjMHSE6h+vntDY4UqoaZNUmWFXAyuttv8bRmH0UsmQgXEscqCtJBSgADNygvYQ3xaoUlJOZg3Qfx4nPJT4UhCwalwmmlpIOdf8AkX/S0KsXw/1H9CZlULgLFj1AUNPlAE/EDoCrQ73hRSY2pUzLtdvb7Ry39OlouA0zBqqdNKPTyFOqi7G2oIcqHiHn/wDCqYLNUCduUsT42H7QRR4woJ+K0bP/AH5xZTi75kuHOrEaRRTZLSJGY5wvMCw01Ckk67jyN/YwdImyJSfSStaikMFZgB8tPaG8+cFEvkAKToA4uLxFVsoJWUgnV9Q0Orkuk2lF8NmLT1JOpIOhjfwxi6ZSlJWWCtFbAwF6K6haZUkFZHyHUk7CGp4XQlvUnbOQEWfpq/vBco1TEqW1oqZ2JKMtGRQF3J1caQIqtyOxF9Bo/wDqJ2qkLRZEwKT0DtbqNv8AUB1OJF3WA4GoGmzQqgM8nelJ+JLjNpcgdNj41+8K8TrQUqlm6VBvfrCsVUxYcA5VE3D+/wDyA66UtAcgt8289IKh0Vz/AIVPCUibOlo9PlTLcKN9WcM2p8RR4kZkiWPUc2KgSHtuLE/WGfD1MmVRSZYGiEqURupfMW0e5Pyhfi2LJDpL5bpYsH69jEbbkWVRiQNRhsyfNP4ZClOHYD4X1uSwD9YLl8JV0h1qQHbRMxBV/wDV7+0WnCVTKTTASmSXIU7OVJ3JIuW8AQ3nYrluyT0DX+Yd4d5GuCRxJ9OaVWIFgkvnZu4OhtsYynwapJEyUjMRfmLFu/Q9otMZpZc5SZ2UiamxJaySWs40Hfr0hTUGag5RNORrafOO3f0Mof0UV1SuWoFQKFXJLgvtc/pA68fGjuB837xsnEVM5EgkOTzKJ+EDW25ihnUVPSpAkyEFgylEBSlHuVXEFySXQaOXjFtDRIqD6s1OwYEtyiwZjGnGJKZagAr+nsFF2/WPZ4gCQQQx6gX7DtCRUxdVMKQCwuTsPJgJNuxm0lS9HVJMTkLKYA97/WE+L4kBNGU6AOe8Hqw9CMiEcy5hygcxJJfoWAHWKeh4PpqcFRl+tM1JUcwR/ik2+YMDeMfTtJyIyVj9r3htw9SKrQrOv0pGhYAqV4fbuYb4jw3Inu8hKH3QQkjva30jZIwmZRyf6ZKkpG7At3Gh9oG8WuejfrlffBlI4fo0JCQuaW39QftGROIrlLGYILHplb2cxkG2DVfwGrq8ZWSBYWeJnGllbEs4geZWwIua8VjGiU8lnxClNYxT8J1QSggtmd4QyJPKTGyhlTSt5KCoixta/eDOmDHcXZ1PACeecAFlAFib82hEfK7FCELLDO97v1t2PiJXC8RqaUqmGUoIUllW/bSB6MTKuYfRDAm6tWfZt1RDRfZo3YfRcSmTPSpXwnkJ6A6E9dopqycVbukDTub/AChFUcL0gSQVqWsauS7/AOI/nmGeG8PTUpyrmsPyknmYDQ+ISah6Pjc/GKKqYxJ+l4UykkFwoDuNQDr/ANi4kcOSc3xLU/VfXYAGE3EfCeQFVMrmAzFGZ7e9wYMZp8QsoNdYhq63K7HZgYXYfiqtAVG+lzA4zKU0wHXQuCexhxSTAkgDl7AaxZUkQ7JhI9VScyZaioeB7a6wnrJE9BMybJVlO5DhvIcR0KikOgGa2js7Fulw31jf6UuZMc7aBJZn26H5xNZf8KPCq9JrhOsR6JUgAKe7N4Fhc2gymwUzZoXUT8qVDllp+Ivob2SPn7Qh4qTLRmVKT6cwHnGj9C3X7/dwOM6daELyn1GYg6J5QA3WGq+oVuviyykYDRoASmUDsVFaiR1JvbcWESfEfB0iS8+VdALKSskpR3uHPu+nlvoxOZUpGQFCSGJVZII0a7HuL6xurcCqZkkqlrQpahcKWQ4GragHQ3+kcn0Ely6DOHcBzAKmEJB+FAZyCCAST8L6sA/Vo9YjwNImhTTZiSC12UC7EaJc2OneAeGMcmSk/h5qCJibMdRZ03NiG0a14Y4nxGNEgcrX2Pz0Y794DbTGirR6XRrkpyrIWHCUlLAEBLDNmLJVs0JpmBKnEFboQXACQSfcmyfEOsBr1VJmGYU3OVCX0ysSb76NDGvxCXK5Qp1AsQdfcgM/7wkpNeDRhF+ibBsNEpJQiWzEkhS86n6knlT7Qxm4iuWQAlOtkhKlKc+zPANRXIX8Csqn28aWgfDauYkqJmAJDE6u/bVjpCJtvpR0lSGU6sUlhOlDJd8iUh32bfzEnxaShJmSlvKVboUH+0iHeLV2dBWg22Znbd+8J6arABDOS5U/jQhmaKLnSTdqiEwnEvRn51XOx6F4e1/EmZRULPez6+5hf/7ImdUZQcssly2of8oEWcrgWgygPNJ7zG21IFmis5RrpKGOd/Egqqpzu11K2S8M8HqjLBQoKSSLAhvpYw6ncNopnmpVnSkhkln/AEMDYjjKVoszNYsLfO8DZNcDo0+nzDsUTKnpUrTq1w4sT0EXCqoFLqUGN3ADdnIvHK6Wnm1ExUqV/UV1Fgwa7nQftFxQ8LVKU/1KgAkD4UAjsMylAq3ieSCZXFka+g38YHISVAf+JA+8eqitTluF2H5lN88rQuVgVWSyDLVlF3zJb7sYmatVSqb6ExCpfYlyf8S7EQix9Gll4HprlCySwGgj7DWkwemCEgyQotcmYsP7CMiuwlEIunM6alAYLUWvbyS8MKvCESyyZhWoalgE+13ipq8RlLVnMtAswZYUrvdP6iI7F6XmK5bkHUKYqHe2vyh4ycico6jrAaaSqYlIAWojcfOx2i2qU5QhGRIB6IJ9zsQO8QPA89KZqpgSWQksVGxKrPo7i5Z4pZOKpKnYlm35SRpbUxHLdmnE049NfEqihLPch3SC7f4hgPlCbhXHPQlKADK9Ryd7pbTrqHgTiHEFqUxUf9RKVM4oLiHhC40yWTJrOzsfDlWifmmlOYS/zAaEnd9xq3eGlZUrWQEKKdX2sesKuCaaTLopbgOsZ1FzzE+NWsAO0E1eJoCwQwS+zueg8Rkl1ujbDiVnuXVo+M3LlJdRGXVlEbv2jJdYlKlLCUkqYEl7sP7Xb6QAEOFg/DMOrH4v8thAq56EDIFuEjf9toK/wSX+irjRsoUliwuW66j7R44Gp84XOWCQiyE2YnV3PTpAHEGJAoKev8eKjg6Yj8KNGUeVh/bq7a+/WNDeuMzxink4LavGkhRE1bEl9FE9hH3Da2WolaVqFxYhQANrltoZY/g6ZoKiQjTmSnTuQ7t4galwqXToI9bNmL2ZzbprCbRceD6yT74buJaT1pBVYLSlwRl5wxJB6Ht4iE4N4fmVc6w/ppIKz1D6DQP2ioxWauWhwot31b/cF8HYilMgywAk66ddDpfp7xSM3GDom4Kc0Ukyd6RCJbJyBgVJuGOgSGS2gDXvHo4mNVl1O4Ia41d+rdtYna2ctRUc11G4Oz9B179oHKykly9uvT7bROKtDSlTPfHdchUpE6XmExFiq90k/Cq7ljo/6xJHGVLABNh9Yc1CJlbmCVZJb3JBVpsw/WBpvCJSOWYF2/tYezExdSjHjINSbtB/B2LsZiXAYu77EZSG36/OHVa6gVFmLl3d/wBLxzrEcPMk6Mfa8aKTGpqLJV7f6gvGn1HLK48Z0mlmhTJShHKkXVc67d+8a5qFg3UCASRs79REbIxtatQH1ZNnaCkYxMu3L8vu1oXQ7dFNVVCCAlxu4vyk9+u8LKuYEBgX3KtPluY1YRNE1CjPBUCCAczFJaxtqR0NoKRSEyilbTJSlZXtmQdj1T50jvugpP0l52LlE4FBIDXbsd4p8MxwHQsoJLMxI6kHeJmXK/DzVIWlzuWuehDvFVRopZyf6klIPVyknqxTBk0kLFOweuxOzFSizG7W3dxCPDMLVVrISpMtN7l79WTufkI9cQYMqVNSEKJlL0fUEapLa6i+8XfCnD5lJBu5Ylxa922hJNQjsh4wlOWrNmA4PLpk5ACRuSkgrV/lpFCaeUUhSpaQouxSVgt7G5j5MnpSCVFPL8V9Bt76QuxevUoJSCpPawf3aIQnJ+mueOK4jQTKkqEyXdBVuCL7ubBXuIGrKoqd2KdQCzg7FJOhgQVKjmCiSCLjXxC9FYSWOu3f5RSmQclYtr8XnImKTmdt21tGR7q50rOcwvv/AB4yKLzwm/8ApJUtUVqCEfEogC/WOhUvCslMvNU1CyW5ghSQke5BJ+0c84Ro5q5wWhBIRqrYe/WOjTOHJs62dKewD+72A+sHI6dIOFWraJ2grpEpRSgEBLlKlG6j1IFm7R7ViqwHDOXv1PgMIqlf+nMtCQ8xSidXIT3sWMAY1w1TS0oBMxwGCUkuRqVEt9X2hLQ3ySIOfPKi51hbVHaLSvwCmyky1LSWDOQr5jaJfE8FmyjmstOrpLt5Goi0ZIjNMvMCrPTpUSQQVJQQ4Is5JHuz/KNlNLOZ5xcAAi4OvvrEThdSEpZNlHMCX1J+F9gBeGtHjalEslSglPMUgke1rB+sRli/heGRcsqauoMsqZO2rsw1HnvCTFqtIDhTFV26+YCqcUXL+IEuH5g/6xO4nXLWSWYfzWDDGLkypnuesqOriLjgjEwiSpJUGS/Ldy99toneE+HlVAzrdKL5eqm1btFIrBpctBKEhKtAXN30Pcaw80mtRMfxexvqK4LAYsH0DtbR/eA5s4i5I8ga+e0T9ZiK0Ky5XPbUnsI+Jk10xLop5mU7kN92iax0M8uxnEOLA8ouohiegjRhlfka8aanhWtDFUlRKuhST8gY2ycGXLLTEEK6K/aK/GuErntbHCscFuZlNoQ9+uaFmK40FDKGzE3IfToYocCw9ClJ5QXfNb4Qxv8AOGWK8P0y5eYoAYap1B/Kdf5aEUop+DyTYdTCXKliUHDM2zBrv1u8Lqyfku4IuAwbwbdYFlVrqCJl8gsdAoDfq+vyhfiU0ggSyV59APp7RJQbdso8iqgGurAokLDkmzW0+8Ts2WAtk3eKWbw7UK52SNbEwDiWETUBKihwNVJYt8o0xkvDNKLN+GySGLHQs+h94bzcOTMkKUkkPZjo7/OAaJRXJyIY33HWGFJhykpUlK3zEO4trcwkysFw2S5IQPTfQff7wfQjKlaQooKrhWxJ+g8QPTypMpRCuZRDdh4jKieHF8o1AG8TfvB150S4+SqYCpWbS/UNp9IJkMUu5B2A3/0IT4vXZpjODdh/No8rxgIlkFXgb/8AItrZHahlVVZXOlSwp2UCX08Exf0dTmQfUW6R+UHTsP8AccYo8QeYVKLE7xS0uMqSlgpw+ha7ws4WqHhlp2VuLYgEDZlMAHIPudxHyVVKUwsQbP07mJqViKST6jG75tW7NGidjwSSUl+wiahXCssifo2qK6bLEz1CxSCAdlPp7xOyMQEtNy4bqQx/WFeKYlOmkZnbUAaD/cD06A97xoUedMrlbNsyvmqJUBYmMhlLpksOYfKMjrD06DheGykpCX5EBwlL6gWsdT3MbaGuEtw4F3Y7E3DkjaE1LWJzC+YgaJVYefMZXVCLFiDsCA56l+kZqf2bNr8HuK8RpCxmUFCzAEgX+bwNjWOpUj+mhibq0cjRyT8vERy5xCs73v7P0EaZ9e6WYE9f9xSMESnMIxKtJSEud7P76Qpm1ZFwTbv9ozPbS/QmAatQAiqRFyPEuUVzcgLAkG32HeOpmgTJkGWjKOQMlxqNj1J33v7RzfhVaDUp9QkJO41HeOhUlMubMUpBShCWCc78qQfiI3UqFyOhsSsUYjKZLKQElOxHUO/cwiqKNBlJWVarI6i28dBq6KjCA6FTFLUeZSsxP6DwLDvE5xVQoQApASm3wtYDt3iccqbopLE6soZtQiVTSkoYJloAJY6kn6W2hVSS5lbMySwQgfFMINuw2v0iMPE8z0jKJJSdm0a9ujx1nhhAkUsuU5Ew80xgSQpbE/IMI7J8Edi+cqPNDQSacf00Mbusp5j5U1h2Fo1LxfNyaOGcjX9x2hpiqbJNj76Nr5iExmnPrJWUgy2ynMv4ST8RAu5D2EZ4Lb00Tevg2mcQBc70gCSOVwAQ/bxBxpkzBlIzg/3BtdQG37wtkUefKJCcuW6lMBbfuT3ihl1aJaQlQIGvXVg76tpHT54CKv8A9CKpwP8ADhS5KioC6kKOg/8AE/zSBzWpIzXJ7bw2xeolLKSi4Z97677+IgcRmGWtSHcAlj21imO5ekclR6jfxhVABCkavbs4f7gQZwgA4UtsyjqxsHDe3iJOrqTMmBKi7XvFZhy0MEgklhow0b3i0ovWiMJLayxSyiE3Jvd9/wBol+I6xUsEJL6XA73BHiG/4hIlJKVpQpyQAb8rXv1J927xKY/UKuQQRcaddbHvEoY6fS2TJceGjhrDl1E5QQSlALqI21JAEdQocGkISykDLqTMAUT+3sIh+CK8S5KmAKsyhfuAddosRXJUgJUbh7s7voxO0Lnb2GwVrZtxPhakmIzoeWS4BSot25THLeIpi6dapakqsGBaxB0UDHSRVGWkALzE2NrAeIU4vVpEoBbLILAkO4N26s8djm0wZIJrhyumleqpyWfpFFR8Oy16i/UmAK9KEKKpYZ9tn7dPEE0OOGwIZjrGiTk/DPHVei3G8CVKulyN92eBJNN3PzitrKxK0sd9YnJqMqiNoZSb9BKEU+GlUsDUmC5UpJZixjWEghreY9KkgptroINgN6SxGljGisSEKCwAx1A6x5kOUgkHppq0HKkiYhSVA3S6SLFxoW3ECwmr8SDdoyF6JNtTH2DwUOpZ6pUwLAcH4k9faGNTiGe4P+u0IqtZGxjTLqiBaA42OslDgTt7e8DzZ4JvCs1So2SpalhybRyjQHKwidUi7QunzCYe4Pw9OqSUyUO3xKJASOxUd+0M67gOZLZ58snsFEPuH/WDskztJMjZEwpIV0jpkvCpiKSSCFf1BnWm4s5UATtyhI9455iuGTZJZaW6HUHuDHT6biNMymlc1gkOL6gB393ieZulRXAlbTBZiSlAcgCWgrKAWbNfbVKQWbeEGM4j6gIOruNgBsAIYVeJJJWpIZuoHNpY9tYkq6ew1uYWCsfJKlwXoTmmAdVAW7kR3eqxuUiapKVJWsflBc2DAWt1eOG4dMyKz5CpYIKLWBe58tpHQqamCx6o5VXN9eZj/wBg547UJ+PLWykmY2jLnyAAFidndjbSCqXF6ealKR6alF2D/Uk+9okaQDIUgWW5u+p3b+bx9kUCEfCq4DhTF3GjdIzOCRqU22Ws/FZMlJSVDMQ+UXcnQAHaF66ozELKySW7AMly3awidkzkuCs5laE9PEe14gPTUyxm1Hu1mgxgLLLR8nzckhRAGVgoHuk2A6BnicxeX6k5x0H1u0bsYxYkCWCMmVm3t1hfIBuSd9Sd+0aFGjI5tmVGFtcBldj8/aNtDPABStRDF2Avpa8FonpShWZV9j5hLWAkHKdDr1hk+gkqHC6tIZSRdm3Olm8NAVfVAh3JeECa9YsfrFPwzhPrc0wE6ePEdJa9Z0XtxHnhoTCFpSC6rm/QcohqcZmylBExCnAuzEeB2h9Pw30Uj0082mXqN3jJFIFIzLQwJboSztbuIi5KXaLKDjy+k6cfUqyEKfqY1YvNqEJTMWg5LePPb3g/EJqJJUmWpPNcJb4XjTRTZU6X6MzOmZfmzFj7dx0hopLtCN9pslCfUPMbdIOpcGzDkOmrOW7tAc2lMqapCixSW/YwxoAXBdhvFm+WiaXaZoVLUnlVtvAcypCrdId4gCbu6TaJCYChZEdHp0uDZExxlUlh21j7OlvYKJbu3zhfLqCYtuBcFE1XrTgDKH/6P7QJvVWzoLZ0j1hHC0yclBTZBA5lftFCeBSkf1Z5KdBkDj6tFqUy0y+UN/a4seggGTVD4VBxuG1+v6RjeWT6jasMEukKrg+lBb8WsdsgjI6GmRKN8oMZE/3y/o/6Y/w4VVKDQrnjp9IvsR4OaXnUvKTom33iBrEFCiDsY9GElLwwTg4+niVKJ8dY6DwXwgZyUTJoV6ZJIA1UOr7DvCXgbCBVzwhX/wAaBnX4DMnyosPnHY5IABSlsvuLCzeLQmSdcKYcd9A5tCBlRKMtCE6IQRbbmO5hfiKJaQFqIdJ01d9Y+4kglUxSVpSzMgWc7P8AwmElVWHKykbOe/e8Z023w0uKiuiPGJ6JqV2ISTZwGA6gQgwuimLOWWCWNz0/3B2LVIKX2J/TpFBwTJUKZduaaqxdiBfTtF3LWJmUdpUTVTRlBylRfoB941ycPBNkqPkxYYpw5MAUolOVrkk2IPT8w8bwqpaErtLK7ANdgT1J1YdICmqGePprp6AIUbsCLWszXJO0UEmYTKzFCQAg5j46d26wdRSF+ilE7mI6bB3yh7RsqJcsIdFkm76vE97ZTTUmKfFEcwSyT37jX5RorsRlvmTMSdgAe3Qwq4gQMyizAdv5vHzhLho1CjMV/wDCkse5/n3imq9ZDaV0jccSKnSlJUS19WPSBvwVQScssku+1o6fT4NLAOVIDWS1tr21cxvl0yQyVIHkNbzC/t18KLDv6zjMsqCzncK3fWC0L3G0WnF/CwUtK0qAUxcfb9YmK7ApskEuFAXLfeKKakiTxyi6BJ8wEEs38ECS6ghw0fVc1hGqq5Q25h0ibFc5TnTeOl8PFQQAkhj7DSIJEneH+A4plGRRvt7aQuVbIbE6Z0OrC5mTK1jfsGvAtTilPLlKlqBUpKsiXZswu53jKXEwEOqx+sRmLzCuYrQJzOAO+5MZscbdM05ZUrPWJTgVrSGIcZbNsLg/RoZ0EtKkOQCpmS+o7wokELSEqAzJfmHToTvBeI1aJMtJCr79+0Xb+kZ0vtibiGfmm6B0hi25EaJExxu0ArnqmTFKSkgKLgdPeN6VKTqLxSuUTtt2HzJtmeE2IEFQeN0+q7NABBUq8dFHNhFNISVDuR9Y7nguGolyQlAAAABbtHH+H6LNOlgKFlAsexBPmOvGfyEAgHfZ4y/ktukjX+MkusYGesoIFx0MAyZfNmOYEbO8E+ohKGKSRAk4gjlSr7e/iMqs1tr7PpV0URGQGioIDN9RGQ2oNkSXFSlpXlz5hup7P2iGxQXeLjE8XkKtLklR1dR09omaWgVU1MuUR8Sr/wCIur6Wjdj4Ysy7SOhf+m2Gqp6UzFFlzmIAAsGGUE69/JioqKrIhISDpzHqeniB6aYJYlywLsGT22PRI01jMYnZUErZ30fc/wA+0RypyZfF8eE6uYVKUskvcgP03hHidTMOun1v+naCKquAdIcE2JP0AhJX14YlmAGv394pjVEcsrFmJT8y0o2s8dU4fpQmSBmvaw1L6MOmscXkkrmg7lXyEdbw+tURLCB8TAqfoD/PeO/ITpIP40utsZ4whQScwzqDd2vtCudP9MoRKTzEgKJY3Vc72/5DLE5xQx1LEktvuR2ieqClJcE5ne+xZg/tGeJeTDJdRMSpQbQq10sGFvZ/eFNVXqQCXLvps28bkTzzEkn9esAYiAQ2+peKJdJSlwUYlU5gSS4Z/fpHSsBw4SqSmCGCcgUs7lShmPnaOU4gCQz23+cdBwTGD+HlvrlA9wGsIfIqjwTE05dK6RWS0XcuDo2u1jC2vmEKE0LSUqNkjqrqYTza8rKU6MSL63/jwItzbuco6APf5xFRv0s5V4MOIq/IysouwI6M2h2hXMXnCluQhKXHvCjFUKIuonXUwFU4ktMj03LqVo+24i0YGeWR9E9ZVpSot10+0aZa85cx9OGLWX6wxkcOzAHBi+ySIpSbB5UsA6O8DVPIQoai8MaigmyhmKdNxCesnv7x0eglwd02PcrvfoY8pxVJuUufEecHwtBDm5g6XhWYjKB7tCfFMZbNGiViASlxr0b6QgrapU1QBDDpFZT4TzlLaCBcYwMBJmJUApN2O7ajzBjJXRzhKrPWC4WCA9u0Nq/h9C08nLMD3vlOlj0PeBMDWlSMxUABY9odU9Wk2zWJ1iUnJMtFRaI2bRTE2WjduoPgx6VhQL5LK3STr4ir/Go+C1j2+cKMTqQCzDqCBpBjJiygl0CwRkTEzALpU7XsND946MJySl3uRqDo/wBhHMZGIhAWnLcmxiv4SxJM1BCmcWvsNoXLG/kPhmvCop6lOUBRNhGnE8SYAg3Fu8DKkhuVTHvpC6skZlZQcquocj2jPGC9NDk6o1TZ5JJya94yN6cOQ11l92JH0jIptEnTEuJ4PNZU10kPoGDQn4dxUU9SJhDm4D7PqW3jIyNOLq6TzrXI6Lufiq1JGQ5QOYq/MegeF9dUrmJMxRzF7nv/ABo+xkTodPhOVU7Mok67DvCGtJWW2EZGRaPDNNmlNKdor+GsVaXkL5k6d9Y+xkCfY9OxNqRS1FeueNQnb2D/AHN4WLk2cneMjIzo0tmitWwtaJutxMjW5MZGRTGukcjEk+oK1XsOkUGFYiZQDXt/GjIyLyX0Ri2nYZKx0KU+jm/vBqMSGRRJJIDAxkZEnFIqpNoSz68l40CT6jMSFD6xkZDeIVd9KTBMJ3Vc9YoKWl1DORoIyMjJOTNmOKoHqqUMXD20PeOcY/h3pLcNlVoOkZGRbC3ZDOuDLClpKXdiBs8OqJS1aNrZ9XHiMjIrIlAoZMhCEZ1gOSA9yAdTaEuIS0lC7DR7vGRkSRQisGzrmiUj8xbXrHYaDhmXKlAhWeaGKgRbwOkZGQczoH48U7GFbQoUATKlnT8gB+cSWO8IJIVMknKdcpLj2Oo+sZGRmxzaZrnjiznP4dWZQOoPyIhpgEqemaPRYvqDuBtHyMjczAlRXSa5SVFChzM/7h4LRVjLGRkZZpJmqLbBSD/4+7x9jIyOpHWz/9k="/>
          <p:cNvSpPr>
            <a:spLocks noChangeAspect="1" noChangeArrowheads="1"/>
          </p:cNvSpPr>
          <p:nvPr/>
        </p:nvSpPr>
        <p:spPr bwMode="auto">
          <a:xfrm>
            <a:off x="892175" y="85883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9" name="AutoShape 8" descr="Mengenal Tanaman Porang: Manfaat, Harga, Budidaya, &amp; Nilai Bisnis ..."/>
          <p:cNvSpPr>
            <a:spLocks noChangeAspect="1" noChangeArrowheads="1"/>
          </p:cNvSpPr>
          <p:nvPr/>
        </p:nvSpPr>
        <p:spPr bwMode="auto">
          <a:xfrm>
            <a:off x="892175" y="85883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3" name="Down Arrow 2"/>
          <p:cNvSpPr/>
          <p:nvPr/>
        </p:nvSpPr>
        <p:spPr>
          <a:xfrm>
            <a:off x="5265249" y="5651500"/>
            <a:ext cx="1770832" cy="691062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283665" y="6262469"/>
            <a:ext cx="39533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32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Competitiveness??</a:t>
            </a:r>
            <a:endParaRPr lang="en-US" sz="32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47" y="1092143"/>
            <a:ext cx="2478154" cy="440560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256" y="1092141"/>
            <a:ext cx="2478155" cy="440560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0971" y="1109414"/>
            <a:ext cx="2478153" cy="440560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933" y="1109412"/>
            <a:ext cx="2478154" cy="440560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" name="Rectangle 18"/>
          <p:cNvSpPr/>
          <p:nvPr/>
        </p:nvSpPr>
        <p:spPr>
          <a:xfrm>
            <a:off x="698500" y="4089400"/>
            <a:ext cx="4635500" cy="8128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6451478" y="4075341"/>
            <a:ext cx="5410322" cy="8128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9" grpId="0" animBg="1"/>
      <p:bldP spid="2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116187" y="1349972"/>
            <a:ext cx="5241854" cy="5120421"/>
            <a:chOff x="95405" y="760667"/>
            <a:chExt cx="5241854" cy="5120421"/>
          </a:xfrm>
          <a:effectLst>
            <a:glow>
              <a:schemeClr val="accent1">
                <a:alpha val="99000"/>
              </a:schemeClr>
            </a:glow>
          </a:effectLst>
        </p:grpSpPr>
        <p:grpSp>
          <p:nvGrpSpPr>
            <p:cNvPr id="8" name="Group 7"/>
            <p:cNvGrpSpPr/>
            <p:nvPr/>
          </p:nvGrpSpPr>
          <p:grpSpPr>
            <a:xfrm>
              <a:off x="95405" y="760667"/>
              <a:ext cx="5241854" cy="5120421"/>
              <a:chOff x="95405" y="760667"/>
              <a:chExt cx="5241854" cy="5120421"/>
            </a:xfrm>
          </p:grpSpPr>
          <p:pic>
            <p:nvPicPr>
              <p:cNvPr id="6" name="Picture 5"/>
              <p:cNvPicPr>
                <a:picLocks noChangeAspect="1"/>
              </p:cNvPicPr>
              <p:nvPr/>
            </p:nvPicPr>
            <p:blipFill rotWithShape="1">
              <a:blip r:embed="rId1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BEBA8EAE-BF5A-486C-A8C5-ECC9F3942E4B}">
                    <a14:imgProps xmlns:a14="http://schemas.microsoft.com/office/drawing/2010/main">
                      <a14:imgLayer r:embed="rId2">
                        <a14:imgEffect>
                          <a14:artisticWatercolorSponge/>
                        </a14:imgEffect>
                      </a14:imgLayer>
                    </a14:imgProps>
                  </a:ext>
                </a:extLst>
              </a:blip>
              <a:srcRect l="12391" t="16873" r="49867" b="17183"/>
              <a:stretch>
                <a:fillRect/>
              </a:stretch>
            </p:blipFill>
            <p:spPr>
              <a:xfrm>
                <a:off x="95405" y="760667"/>
                <a:ext cx="5209955" cy="5120421"/>
              </a:xfrm>
              <a:prstGeom prst="rect">
                <a:avLst/>
              </a:prstGeom>
            </p:spPr>
          </p:pic>
          <p:sp>
            <p:nvSpPr>
              <p:cNvPr id="7" name="Rectangle 6"/>
              <p:cNvSpPr/>
              <p:nvPr/>
            </p:nvSpPr>
            <p:spPr>
              <a:xfrm>
                <a:off x="3753294" y="771300"/>
                <a:ext cx="1583965" cy="48334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" name="Rectangle 8"/>
            <p:cNvSpPr/>
            <p:nvPr/>
          </p:nvSpPr>
          <p:spPr>
            <a:xfrm>
              <a:off x="1477926" y="2987749"/>
              <a:ext cx="297711" cy="457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66255" y="3695505"/>
            <a:ext cx="5288247" cy="92333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5400" b="1" dirty="0">
                <a:solidFill>
                  <a:srgbClr val="FF0000"/>
                </a:solidFill>
                <a:latin typeface="Century Gothic" panose="020B0502020202020204" pitchFamily="34" charset="0"/>
              </a:rPr>
              <a:t>Market driven</a:t>
            </a:r>
            <a:endParaRPr lang="en-US" sz="5400" b="1" dirty="0">
              <a:solidFill>
                <a:srgbClr val="FF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450598" y="1116748"/>
            <a:ext cx="55697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2400" b="1" dirty="0" err="1">
                <a:latin typeface="Century Gothic" panose="020B0502020202020204" pitchFamily="34" charset="0"/>
              </a:rPr>
              <a:t>Menempatkan</a:t>
            </a:r>
            <a:r>
              <a:rPr lang="en-ID" sz="2400" b="1" dirty="0"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latin typeface="Century Gothic" panose="020B0502020202020204" pitchFamily="34" charset="0"/>
              </a:rPr>
              <a:t>permintaan</a:t>
            </a:r>
            <a:r>
              <a:rPr lang="en-ID" sz="2400" b="1" dirty="0"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latin typeface="Century Gothic" panose="020B0502020202020204" pitchFamily="34" charset="0"/>
              </a:rPr>
              <a:t>pasar</a:t>
            </a:r>
            <a:r>
              <a:rPr lang="en-ID" sz="2400" b="1" dirty="0"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latin typeface="Century Gothic" panose="020B0502020202020204" pitchFamily="34" charset="0"/>
              </a:rPr>
              <a:t>dan</a:t>
            </a:r>
            <a:r>
              <a:rPr lang="en-ID" sz="2400" b="1" dirty="0"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latin typeface="Century Gothic" panose="020B0502020202020204" pitchFamily="34" charset="0"/>
              </a:rPr>
              <a:t>kebutuhan</a:t>
            </a:r>
            <a:r>
              <a:rPr lang="en-ID" sz="2400" b="1" dirty="0"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latin typeface="Century Gothic" panose="020B0502020202020204" pitchFamily="34" charset="0"/>
              </a:rPr>
              <a:t>konsumen</a:t>
            </a:r>
            <a:r>
              <a:rPr lang="en-ID" sz="2400" b="1" dirty="0"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latin typeface="Century Gothic" panose="020B0502020202020204" pitchFamily="34" charset="0"/>
              </a:rPr>
              <a:t>sebagai</a:t>
            </a:r>
            <a:r>
              <a:rPr lang="en-ID" sz="2400" b="1" dirty="0"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latin typeface="Century Gothic" panose="020B0502020202020204" pitchFamily="34" charset="0"/>
              </a:rPr>
              <a:t>prioritas</a:t>
            </a:r>
            <a:endParaRPr lang="en-US" sz="2400" b="1" dirty="0">
              <a:latin typeface="Century Gothic" panose="020B0502020202020204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7720903" y="2609642"/>
            <a:ext cx="35283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7380659" y="2789641"/>
            <a:ext cx="4495915" cy="3416320"/>
          </a:xfrm>
          <a:prstGeom prst="rect">
            <a:avLst/>
          </a:prstGeom>
          <a:ln w="28575">
            <a:solidFill>
              <a:srgbClr val="FFC000"/>
            </a:solidFill>
          </a:ln>
        </p:spPr>
        <p:txBody>
          <a:bodyPr wrap="square">
            <a:spAutoFit/>
          </a:bodyPr>
          <a:lstStyle/>
          <a:p>
            <a:r>
              <a:rPr lang="en-ID" sz="2400" dirty="0" err="1">
                <a:latin typeface="Century Gothic" panose="020B0502020202020204" pitchFamily="34" charset="0"/>
              </a:rPr>
              <a:t>Pemenuhan</a:t>
            </a:r>
            <a:r>
              <a:rPr lang="en-ID" sz="2400" dirty="0">
                <a:latin typeface="Century Gothic" panose="020B0502020202020204" pitchFamily="34" charset="0"/>
              </a:rPr>
              <a:t> </a:t>
            </a:r>
            <a:r>
              <a:rPr lang="en-ID" sz="2400" dirty="0" err="1">
                <a:latin typeface="Century Gothic" panose="020B0502020202020204" pitchFamily="34" charset="0"/>
              </a:rPr>
              <a:t>terhadap</a:t>
            </a:r>
            <a:r>
              <a:rPr lang="en-ID" sz="2400" dirty="0">
                <a:latin typeface="Century Gothic" panose="020B0502020202020204" pitchFamily="34" charset="0"/>
              </a:rPr>
              <a:t> :</a:t>
            </a:r>
            <a:endParaRPr lang="en-ID" sz="2400" dirty="0">
              <a:latin typeface="Century Gothic" panose="020B0502020202020204" pitchFamily="34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D" sz="2400" dirty="0" err="1">
                <a:latin typeface="Century Gothic" panose="020B0502020202020204" pitchFamily="34" charset="0"/>
              </a:rPr>
              <a:t>Aspek</a:t>
            </a:r>
            <a:r>
              <a:rPr lang="en-ID" sz="2400" dirty="0">
                <a:latin typeface="Century Gothic" panose="020B0502020202020204" pitchFamily="34" charset="0"/>
              </a:rPr>
              <a:t> </a:t>
            </a:r>
            <a:r>
              <a:rPr lang="en-ID" sz="2400" dirty="0" err="1">
                <a:latin typeface="Century Gothic" panose="020B0502020202020204" pitchFamily="34" charset="0"/>
              </a:rPr>
              <a:t>Mutu</a:t>
            </a:r>
            <a:endParaRPr lang="en-ID" sz="2400" dirty="0">
              <a:latin typeface="Century Gothic" panose="020B0502020202020204" pitchFamily="34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D" sz="2400" dirty="0">
                <a:latin typeface="Century Gothic" panose="020B0502020202020204" pitchFamily="34" charset="0"/>
              </a:rPr>
              <a:t>Harga</a:t>
            </a:r>
            <a:endParaRPr lang="en-ID" sz="2400" dirty="0">
              <a:latin typeface="Century Gothic" panose="020B0502020202020204" pitchFamily="34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D" sz="2400" dirty="0" err="1">
                <a:latin typeface="Century Gothic" panose="020B0502020202020204" pitchFamily="34" charset="0"/>
              </a:rPr>
              <a:t>Kemudahan</a:t>
            </a:r>
            <a:r>
              <a:rPr lang="en-ID" sz="2400" dirty="0">
                <a:latin typeface="Century Gothic" panose="020B0502020202020204" pitchFamily="34" charset="0"/>
              </a:rPr>
              <a:t> </a:t>
            </a:r>
            <a:r>
              <a:rPr lang="en-ID" sz="2400" dirty="0" err="1">
                <a:latin typeface="Century Gothic" panose="020B0502020202020204" pitchFamily="34" charset="0"/>
              </a:rPr>
              <a:t>Konsumsi</a:t>
            </a:r>
            <a:endParaRPr lang="en-ID" sz="2400" dirty="0">
              <a:latin typeface="Century Gothic" panose="020B0502020202020204" pitchFamily="34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D" sz="2400" dirty="0">
                <a:latin typeface="Century Gothic" panose="020B0502020202020204" pitchFamily="34" charset="0"/>
              </a:rPr>
              <a:t>Standard (SNI, ISO, HACCP </a:t>
            </a:r>
            <a:r>
              <a:rPr lang="en-ID" sz="2400" dirty="0" err="1">
                <a:latin typeface="Century Gothic" panose="020B0502020202020204" pitchFamily="34" charset="0"/>
              </a:rPr>
              <a:t>dsb</a:t>
            </a:r>
            <a:r>
              <a:rPr lang="en-ID" sz="2400" dirty="0">
                <a:latin typeface="Century Gothic" panose="020B0502020202020204" pitchFamily="34" charset="0"/>
              </a:rPr>
              <a:t>)</a:t>
            </a:r>
            <a:endParaRPr lang="en-ID" sz="2400" dirty="0">
              <a:latin typeface="Century Gothic" panose="020B0502020202020204" pitchFamily="34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D" sz="2400" dirty="0" err="1">
                <a:latin typeface="Century Gothic" panose="020B0502020202020204" pitchFamily="34" charset="0"/>
              </a:rPr>
              <a:t>Sertifikasi</a:t>
            </a:r>
            <a:r>
              <a:rPr lang="en-ID" sz="2400" dirty="0">
                <a:latin typeface="Century Gothic" panose="020B0502020202020204" pitchFamily="34" charset="0"/>
              </a:rPr>
              <a:t> (GAP/GHP, </a:t>
            </a:r>
            <a:r>
              <a:rPr lang="en-ID" sz="2400" dirty="0" err="1">
                <a:latin typeface="Century Gothic" panose="020B0502020202020204" pitchFamily="34" charset="0"/>
              </a:rPr>
              <a:t>organik</a:t>
            </a:r>
            <a:r>
              <a:rPr lang="en-ID" sz="2400" dirty="0">
                <a:latin typeface="Century Gothic" panose="020B0502020202020204" pitchFamily="34" charset="0"/>
              </a:rPr>
              <a:t> </a:t>
            </a:r>
            <a:r>
              <a:rPr lang="en-ID" sz="2400" dirty="0" err="1">
                <a:latin typeface="Century Gothic" panose="020B0502020202020204" pitchFamily="34" charset="0"/>
              </a:rPr>
              <a:t>dsb</a:t>
            </a:r>
            <a:r>
              <a:rPr lang="en-ID" sz="2400" dirty="0">
                <a:latin typeface="Century Gothic" panose="020B0502020202020204" pitchFamily="34" charset="0"/>
              </a:rPr>
              <a:t>)</a:t>
            </a:r>
            <a:endParaRPr lang="en-ID" sz="2400" dirty="0">
              <a:latin typeface="Century Gothic" panose="020B0502020202020204" pitchFamily="34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D" sz="2400" dirty="0" err="1">
                <a:latin typeface="Century Gothic" panose="020B0502020202020204" pitchFamily="34" charset="0"/>
              </a:rPr>
              <a:t>Keamanan</a:t>
            </a:r>
            <a:r>
              <a:rPr lang="en-ID" sz="2400" dirty="0">
                <a:latin typeface="Century Gothic" panose="020B0502020202020204" pitchFamily="34" charset="0"/>
              </a:rPr>
              <a:t> </a:t>
            </a:r>
            <a:r>
              <a:rPr lang="en-ID" sz="2400" dirty="0" err="1">
                <a:latin typeface="Century Gothic" panose="020B0502020202020204" pitchFamily="34" charset="0"/>
              </a:rPr>
              <a:t>Pangan</a:t>
            </a:r>
            <a:endParaRPr lang="en-US" sz="2400" dirty="0">
              <a:latin typeface="Century Gothic" panose="020B0502020202020204" pitchFamily="34" charset="0"/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5454502" y="3200239"/>
            <a:ext cx="1456661" cy="1913861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662540" y="99474"/>
            <a:ext cx="110405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TANTANGAN AGRIBISNIS HORTIKULTURA</a:t>
            </a:r>
            <a:endParaRPr lang="en-US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</p:spTree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708634" y="2923994"/>
            <a:ext cx="2618289" cy="265334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2" descr="Australian Custard Apple Box — MomoBud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29082">
            <a:off x="4674457" y="2728157"/>
            <a:ext cx="2618566" cy="2263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25"/>
          <a:stretch>
            <a:fillRect/>
          </a:stretch>
        </p:blipFill>
        <p:spPr>
          <a:xfrm>
            <a:off x="8296974" y="5343504"/>
            <a:ext cx="2089199" cy="1385237"/>
          </a:xfrm>
          <a:prstGeom prst="ellipse">
            <a:avLst/>
          </a:prstGeom>
          <a:ln w="28575" cap="rnd">
            <a:solidFill>
              <a:srgbClr val="0070C0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5" name="TextBox 24"/>
          <p:cNvSpPr txBox="1"/>
          <p:nvPr/>
        </p:nvSpPr>
        <p:spPr>
          <a:xfrm>
            <a:off x="10582053" y="4910494"/>
            <a:ext cx="1255472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81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2800" b="1" dirty="0" err="1">
                <a:solidFill>
                  <a:schemeClr val="tx1"/>
                </a:solidFill>
              </a:rPr>
              <a:t>Olahan</a:t>
            </a:r>
            <a:endParaRPr lang="en-US" sz="2800" b="1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505123" y="2206662"/>
            <a:ext cx="4293498" cy="27038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315430" y="732049"/>
            <a:ext cx="1135911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400" b="1" i="1" dirty="0">
                <a:latin typeface="Century Gothic" panose="020B0502020202020204" pitchFamily="34" charset="0"/>
              </a:rPr>
              <a:t>Nilai </a:t>
            </a:r>
            <a:r>
              <a:rPr lang="en-US" sz="2400" b="1" i="1" dirty="0" err="1">
                <a:latin typeface="Century Gothic" panose="020B0502020202020204" pitchFamily="34" charset="0"/>
              </a:rPr>
              <a:t>tambah</a:t>
            </a:r>
            <a:r>
              <a:rPr lang="en-US" sz="2400" b="1" i="1" dirty="0">
                <a:latin typeface="Century Gothic" panose="020B0502020202020204" pitchFamily="34" charset="0"/>
              </a:rPr>
              <a:t> (value added) </a:t>
            </a:r>
            <a:r>
              <a:rPr lang="en-US" sz="2400" dirty="0" err="1">
                <a:latin typeface="Century Gothic" panose="020B0502020202020204" pitchFamily="34" charset="0"/>
              </a:rPr>
              <a:t>adalah</a:t>
            </a:r>
            <a:r>
              <a:rPr lang="en-US" sz="2400" dirty="0">
                <a:latin typeface="Century Gothic" panose="020B0502020202020204" pitchFamily="34" charset="0"/>
              </a:rPr>
              <a:t> </a:t>
            </a:r>
            <a:r>
              <a:rPr lang="en-US" sz="2400" dirty="0" err="1">
                <a:latin typeface="Century Gothic" panose="020B0502020202020204" pitchFamily="34" charset="0"/>
              </a:rPr>
              <a:t>pertambahan</a:t>
            </a:r>
            <a:r>
              <a:rPr lang="en-US" sz="2400" dirty="0">
                <a:latin typeface="Century Gothic" panose="020B0502020202020204" pitchFamily="34" charset="0"/>
              </a:rPr>
              <a:t> </a:t>
            </a:r>
            <a:r>
              <a:rPr lang="en-US" sz="2400" dirty="0" err="1">
                <a:latin typeface="Century Gothic" panose="020B0502020202020204" pitchFamily="34" charset="0"/>
              </a:rPr>
              <a:t>nilai</a:t>
            </a:r>
            <a:r>
              <a:rPr lang="en-US" sz="2400" dirty="0">
                <a:latin typeface="Century Gothic" panose="020B0502020202020204" pitchFamily="34" charset="0"/>
              </a:rPr>
              <a:t> </a:t>
            </a:r>
            <a:r>
              <a:rPr lang="en-US" sz="2400" dirty="0" err="1">
                <a:latin typeface="Century Gothic" panose="020B0502020202020204" pitchFamily="34" charset="0"/>
              </a:rPr>
              <a:t>suatu</a:t>
            </a:r>
            <a:r>
              <a:rPr lang="en-US" sz="2400" dirty="0">
                <a:latin typeface="Century Gothic" panose="020B0502020202020204" pitchFamily="34" charset="0"/>
              </a:rPr>
              <a:t> </a:t>
            </a:r>
            <a:r>
              <a:rPr lang="en-US" sz="2400" dirty="0" err="1">
                <a:latin typeface="Century Gothic" panose="020B0502020202020204" pitchFamily="34" charset="0"/>
              </a:rPr>
              <a:t>komoditas</a:t>
            </a:r>
            <a:r>
              <a:rPr lang="en-US" sz="2400" dirty="0">
                <a:latin typeface="Century Gothic" panose="020B0502020202020204" pitchFamily="34" charset="0"/>
              </a:rPr>
              <a:t> </a:t>
            </a:r>
            <a:r>
              <a:rPr lang="en-US" sz="2400" dirty="0" err="1">
                <a:latin typeface="Century Gothic" panose="020B0502020202020204" pitchFamily="34" charset="0"/>
              </a:rPr>
              <a:t>karena</a:t>
            </a:r>
            <a:r>
              <a:rPr lang="en-US" sz="2400" dirty="0">
                <a:latin typeface="Century Gothic" panose="020B0502020202020204" pitchFamily="34" charset="0"/>
              </a:rPr>
              <a:t> </a:t>
            </a:r>
            <a:r>
              <a:rPr lang="en-US" sz="2400" dirty="0" err="1">
                <a:latin typeface="Century Gothic" panose="020B0502020202020204" pitchFamily="34" charset="0"/>
              </a:rPr>
              <a:t>mengalami</a:t>
            </a:r>
            <a:r>
              <a:rPr lang="en-US" sz="2400" dirty="0">
                <a:latin typeface="Century Gothic" panose="020B0502020202020204" pitchFamily="34" charset="0"/>
              </a:rPr>
              <a:t> proses </a:t>
            </a:r>
            <a:r>
              <a:rPr lang="en-US" sz="2400" dirty="0" err="1">
                <a:latin typeface="Century Gothic" panose="020B0502020202020204" pitchFamily="34" charset="0"/>
              </a:rPr>
              <a:t>pengolahan</a:t>
            </a:r>
            <a:r>
              <a:rPr lang="en-US" sz="2400" dirty="0">
                <a:latin typeface="Century Gothic" panose="020B0502020202020204" pitchFamily="34" charset="0"/>
              </a:rPr>
              <a:t>, </a:t>
            </a:r>
            <a:r>
              <a:rPr lang="en-US" sz="2400" dirty="0" err="1">
                <a:latin typeface="Century Gothic" panose="020B0502020202020204" pitchFamily="34" charset="0"/>
              </a:rPr>
              <a:t>pengangkutan</a:t>
            </a:r>
            <a:r>
              <a:rPr lang="en-US" sz="2400" dirty="0">
                <a:latin typeface="Century Gothic" panose="020B0502020202020204" pitchFamily="34" charset="0"/>
              </a:rPr>
              <a:t> </a:t>
            </a:r>
            <a:r>
              <a:rPr lang="en-US" sz="2400" dirty="0" err="1">
                <a:latin typeface="Century Gothic" panose="020B0502020202020204" pitchFamily="34" charset="0"/>
              </a:rPr>
              <a:t>ataupun</a:t>
            </a:r>
            <a:r>
              <a:rPr lang="en-US" sz="2400" dirty="0">
                <a:latin typeface="Century Gothic" panose="020B0502020202020204" pitchFamily="34" charset="0"/>
              </a:rPr>
              <a:t> </a:t>
            </a:r>
            <a:r>
              <a:rPr lang="en-US" sz="2400" dirty="0" err="1">
                <a:latin typeface="Century Gothic" panose="020B0502020202020204" pitchFamily="34" charset="0"/>
              </a:rPr>
              <a:t>pasca</a:t>
            </a:r>
            <a:r>
              <a:rPr lang="en-US" sz="2400" dirty="0">
                <a:latin typeface="Century Gothic" panose="020B0502020202020204" pitchFamily="34" charset="0"/>
              </a:rPr>
              <a:t> </a:t>
            </a:r>
            <a:r>
              <a:rPr lang="en-US" sz="2400" dirty="0" err="1">
                <a:latin typeface="Century Gothic" panose="020B0502020202020204" pitchFamily="34" charset="0"/>
              </a:rPr>
              <a:t>panen</a:t>
            </a:r>
            <a:r>
              <a:rPr lang="en-US" sz="2400" dirty="0">
                <a:latin typeface="Century Gothic" panose="020B0502020202020204" pitchFamily="34" charset="0"/>
              </a:rPr>
              <a:t> </a:t>
            </a:r>
            <a:r>
              <a:rPr lang="en-US" sz="2400" dirty="0" err="1">
                <a:latin typeface="Century Gothic" panose="020B0502020202020204" pitchFamily="34" charset="0"/>
              </a:rPr>
              <a:t>dalam</a:t>
            </a:r>
            <a:r>
              <a:rPr lang="en-US" sz="2400" dirty="0">
                <a:latin typeface="Century Gothic" panose="020B0502020202020204" pitchFamily="34" charset="0"/>
              </a:rPr>
              <a:t> </a:t>
            </a:r>
            <a:r>
              <a:rPr lang="en-US" sz="2400" dirty="0" err="1">
                <a:latin typeface="Century Gothic" panose="020B0502020202020204" pitchFamily="34" charset="0"/>
              </a:rPr>
              <a:t>suatu</a:t>
            </a:r>
            <a:r>
              <a:rPr lang="en-US" sz="2400" dirty="0">
                <a:latin typeface="Century Gothic" panose="020B0502020202020204" pitchFamily="34" charset="0"/>
              </a:rPr>
              <a:t> </a:t>
            </a:r>
            <a:r>
              <a:rPr lang="en-US" sz="2400" dirty="0" err="1">
                <a:latin typeface="Century Gothic" panose="020B0502020202020204" pitchFamily="34" charset="0"/>
              </a:rPr>
              <a:t>produksi</a:t>
            </a:r>
            <a:r>
              <a:rPr lang="en-US" sz="2400" dirty="0">
                <a:latin typeface="Century Gothic" panose="020B0502020202020204" pitchFamily="34" charset="0"/>
              </a:rPr>
              <a:t>. </a:t>
            </a:r>
            <a:endParaRPr lang="en-US" sz="2400" dirty="0">
              <a:latin typeface="Century Gothic" panose="020B0502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34839" y="2131146"/>
            <a:ext cx="2265964" cy="83099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ID" sz="2400" b="1" dirty="0" err="1">
                <a:solidFill>
                  <a:srgbClr val="002060"/>
                </a:solidFill>
              </a:rPr>
              <a:t>Contoh</a:t>
            </a:r>
            <a:r>
              <a:rPr lang="en-ID" sz="2400" b="1" dirty="0">
                <a:solidFill>
                  <a:srgbClr val="002060"/>
                </a:solidFill>
              </a:rPr>
              <a:t> : </a:t>
            </a:r>
            <a:endParaRPr lang="en-ID" sz="2400" b="1" dirty="0">
              <a:solidFill>
                <a:srgbClr val="002060"/>
              </a:solidFill>
            </a:endParaRPr>
          </a:p>
          <a:p>
            <a:r>
              <a:rPr lang="en-ID" sz="2400" b="1" dirty="0" err="1">
                <a:solidFill>
                  <a:srgbClr val="002060"/>
                </a:solidFill>
              </a:rPr>
              <a:t>Buah</a:t>
            </a:r>
            <a:r>
              <a:rPr lang="en-ID" sz="2400" b="1" dirty="0">
                <a:solidFill>
                  <a:srgbClr val="002060"/>
                </a:solidFill>
              </a:rPr>
              <a:t> </a:t>
            </a:r>
            <a:r>
              <a:rPr lang="en-ID" sz="2400" b="1" dirty="0" err="1">
                <a:solidFill>
                  <a:srgbClr val="002060"/>
                </a:solidFill>
              </a:rPr>
              <a:t>Srikaya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1635" y="2139164"/>
            <a:ext cx="4189228" cy="156966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D" sz="2400" b="1" dirty="0" err="1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Peningkatan</a:t>
            </a:r>
            <a:r>
              <a:rPr lang="en-ID" sz="24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Nilai</a:t>
            </a:r>
            <a:r>
              <a:rPr lang="en-ID" sz="24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Tambah</a:t>
            </a:r>
            <a:r>
              <a:rPr lang="en-ID" sz="24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latin typeface="Century Gothic" panose="020B0502020202020204" pitchFamily="34" charset="0"/>
              </a:rPr>
              <a:t>sangat</a:t>
            </a:r>
            <a:r>
              <a:rPr lang="en-ID" sz="2400" b="1" dirty="0"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latin typeface="Century Gothic" panose="020B0502020202020204" pitchFamily="34" charset="0"/>
              </a:rPr>
              <a:t>berpengaruh</a:t>
            </a:r>
            <a:r>
              <a:rPr lang="en-ID" sz="2400" b="1" dirty="0"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latin typeface="Century Gothic" panose="020B0502020202020204" pitchFamily="34" charset="0"/>
              </a:rPr>
              <a:t>terhadap</a:t>
            </a:r>
            <a:r>
              <a:rPr lang="en-ID" sz="2400" b="1" dirty="0"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Daya</a:t>
            </a:r>
            <a:r>
              <a:rPr lang="en-ID" sz="24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Saing</a:t>
            </a:r>
            <a:r>
              <a:rPr lang="en-ID" sz="24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latin typeface="Century Gothic" panose="020B0502020202020204" pitchFamily="34" charset="0"/>
              </a:rPr>
              <a:t>suatu</a:t>
            </a:r>
            <a:r>
              <a:rPr lang="en-ID" sz="2400" b="1" dirty="0">
                <a:latin typeface="Century Gothic" panose="020B0502020202020204" pitchFamily="34" charset="0"/>
              </a:rPr>
              <a:t> </a:t>
            </a:r>
            <a:r>
              <a:rPr lang="en-ID" sz="2400" b="1" dirty="0" err="1">
                <a:latin typeface="Century Gothic" panose="020B0502020202020204" pitchFamily="34" charset="0"/>
              </a:rPr>
              <a:t>produk</a:t>
            </a:r>
            <a:r>
              <a:rPr lang="en-ID" sz="2400" b="1" dirty="0">
                <a:latin typeface="Century Gothic" panose="020B0502020202020204" pitchFamily="34" charset="0"/>
              </a:rPr>
              <a:t> </a:t>
            </a:r>
            <a:endParaRPr lang="en-US" sz="2400" b="1" dirty="0">
              <a:latin typeface="Century Gothic" panose="020B0502020202020204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51635" y="1563269"/>
            <a:ext cx="11486709" cy="30321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287079" y="2001480"/>
            <a:ext cx="11451265" cy="39953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ight Arrow 15"/>
          <p:cNvSpPr/>
          <p:nvPr/>
        </p:nvSpPr>
        <p:spPr>
          <a:xfrm rot="16200000">
            <a:off x="1841704" y="3895983"/>
            <a:ext cx="520996" cy="733646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785995" y="4645449"/>
            <a:ext cx="266451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2200" b="1" dirty="0" err="1">
                <a:latin typeface="Century Gothic" panose="020B0502020202020204" pitchFamily="34" charset="0"/>
              </a:rPr>
              <a:t>Peningkatan</a:t>
            </a:r>
            <a:r>
              <a:rPr lang="en-ID" sz="2200" b="1" dirty="0">
                <a:latin typeface="Century Gothic" panose="020B0502020202020204" pitchFamily="34" charset="0"/>
              </a:rPr>
              <a:t> </a:t>
            </a:r>
            <a:r>
              <a:rPr lang="en-ID" sz="2200" b="1" dirty="0" err="1">
                <a:latin typeface="Century Gothic" panose="020B0502020202020204" pitchFamily="34" charset="0"/>
              </a:rPr>
              <a:t>Mutu</a:t>
            </a:r>
            <a:endParaRPr lang="en-ID" sz="2200" b="1" dirty="0">
              <a:latin typeface="Century Gothic" panose="020B0502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521362" y="4711012"/>
            <a:ext cx="212651" cy="276447"/>
          </a:xfrm>
          <a:prstGeom prst="ellipse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/>
          </a:p>
        </p:txBody>
      </p:sp>
      <p:sp>
        <p:nvSpPr>
          <p:cNvPr id="19" name="Oval 18"/>
          <p:cNvSpPr/>
          <p:nvPr/>
        </p:nvSpPr>
        <p:spPr>
          <a:xfrm>
            <a:off x="521360" y="5224251"/>
            <a:ext cx="212651" cy="276447"/>
          </a:xfrm>
          <a:prstGeom prst="ellipse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/>
          </a:p>
        </p:txBody>
      </p:sp>
      <p:sp>
        <p:nvSpPr>
          <p:cNvPr id="20" name="TextBox 19"/>
          <p:cNvSpPr txBox="1"/>
          <p:nvPr/>
        </p:nvSpPr>
        <p:spPr>
          <a:xfrm>
            <a:off x="775361" y="5148712"/>
            <a:ext cx="306526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>
                <a:latin typeface="Century Gothic" panose="020B0502020202020204" pitchFamily="34" charset="0"/>
              </a:rPr>
              <a:t>P</a:t>
            </a:r>
            <a:r>
              <a:rPr lang="en-ID" sz="2200" b="1" dirty="0" err="1">
                <a:latin typeface="Century Gothic" panose="020B0502020202020204" pitchFamily="34" charset="0"/>
              </a:rPr>
              <a:t>roduk</a:t>
            </a:r>
            <a:r>
              <a:rPr lang="en-ID" sz="2200" b="1" dirty="0">
                <a:latin typeface="Century Gothic" panose="020B0502020202020204" pitchFamily="34" charset="0"/>
              </a:rPr>
              <a:t> Development</a:t>
            </a:r>
            <a:endParaRPr lang="en-ID" sz="2200" b="1" dirty="0">
              <a:latin typeface="Century Gothic" panose="020B0502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85995" y="5605236"/>
            <a:ext cx="343074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2200" b="1" dirty="0" err="1">
                <a:latin typeface="Century Gothic" panose="020B0502020202020204" pitchFamily="34" charset="0"/>
              </a:rPr>
              <a:t>Pemanfaatan</a:t>
            </a:r>
            <a:r>
              <a:rPr lang="en-ID" sz="2200" b="1" dirty="0">
                <a:latin typeface="Century Gothic" panose="020B0502020202020204" pitchFamily="34" charset="0"/>
              </a:rPr>
              <a:t> </a:t>
            </a:r>
            <a:r>
              <a:rPr lang="en-ID" sz="2200" b="1" dirty="0" err="1">
                <a:latin typeface="Century Gothic" panose="020B0502020202020204" pitchFamily="34" charset="0"/>
              </a:rPr>
              <a:t>Teknologi</a:t>
            </a:r>
            <a:endParaRPr lang="en-ID" sz="2200" b="1" dirty="0">
              <a:latin typeface="Century Gothic" panose="020B0502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521362" y="5712026"/>
            <a:ext cx="212651" cy="276447"/>
          </a:xfrm>
          <a:prstGeom prst="ellipse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/>
          </a:p>
        </p:txBody>
      </p:sp>
      <p:sp>
        <p:nvSpPr>
          <p:cNvPr id="2" name="TextBox 1"/>
          <p:cNvSpPr txBox="1"/>
          <p:nvPr/>
        </p:nvSpPr>
        <p:spPr>
          <a:xfrm>
            <a:off x="105103" y="22723"/>
            <a:ext cx="119397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TANTANGAN NILAI TAMBAH HORTIKULTURA</a:t>
            </a:r>
            <a:endParaRPr lang="en-US" sz="36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pic>
        <p:nvPicPr>
          <p:cNvPr id="22" name="Picture 2" descr="Mala's Custard Apple Whole Fruit Crush 750ml - online grocery,online  grocery delhi,online grocery bangalore, online grocery shopping, online  grocery store,online supermarket,grocery chennai,grocery pune, online  grocery shopping india, buy groceries ...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6" r="32961"/>
          <a:stretch>
            <a:fillRect/>
          </a:stretch>
        </p:blipFill>
        <p:spPr bwMode="auto">
          <a:xfrm>
            <a:off x="7729386" y="2479966"/>
            <a:ext cx="1016059" cy="2171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06" r="23764"/>
          <a:stretch>
            <a:fillRect/>
          </a:stretch>
        </p:blipFill>
        <p:spPr bwMode="auto">
          <a:xfrm>
            <a:off x="10582053" y="2480979"/>
            <a:ext cx="1156291" cy="2225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Holy Natural Custard Apple Powder - 200 GM: Amazon.in: Grocery &amp; Gourmet  Foods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94" r="14053"/>
          <a:stretch>
            <a:fillRect/>
          </a:stretch>
        </p:blipFill>
        <p:spPr bwMode="auto">
          <a:xfrm>
            <a:off x="8774028" y="2451942"/>
            <a:ext cx="1789635" cy="2395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763925" y="4672910"/>
            <a:ext cx="1536253" cy="830997"/>
          </a:xfrm>
          <a:prstGeom prst="rect">
            <a:avLst/>
          </a:prstGeom>
          <a:ln w="381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Segar</a:t>
            </a:r>
            <a:endParaRPr lang="en-US" sz="2400" b="1" dirty="0"/>
          </a:p>
          <a:p>
            <a:pPr algn="ctr"/>
            <a:r>
              <a:rPr lang="en-US" sz="2400" b="1" dirty="0"/>
              <a:t>Grade A, B</a:t>
            </a:r>
            <a:endParaRPr lang="en-US" sz="2400" b="1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98" t="32820" r="14816" b="24288"/>
          <a:stretch>
            <a:fillRect/>
          </a:stretch>
        </p:blipFill>
        <p:spPr>
          <a:xfrm>
            <a:off x="6283322" y="5375920"/>
            <a:ext cx="1996965" cy="1382232"/>
          </a:xfrm>
          <a:prstGeom prst="ellipse">
            <a:avLst/>
          </a:prstGeom>
          <a:ln w="28575" cap="rnd">
            <a:solidFill>
              <a:srgbClr val="00B050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28" name="Elbow Connector 27"/>
          <p:cNvCxnSpPr>
            <a:stCxn id="26" idx="6"/>
            <a:endCxn id="25" idx="2"/>
          </p:cNvCxnSpPr>
          <p:nvPr/>
        </p:nvCxnSpPr>
        <p:spPr>
          <a:xfrm flipV="1">
            <a:off x="10386173" y="5433714"/>
            <a:ext cx="823616" cy="602409"/>
          </a:xfrm>
          <a:prstGeom prst="bentConnector2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>
            <a:stCxn id="27" idx="2"/>
            <a:endCxn id="6" idx="2"/>
          </p:cNvCxnSpPr>
          <p:nvPr/>
        </p:nvCxnSpPr>
        <p:spPr>
          <a:xfrm rot="10800000">
            <a:off x="6017780" y="5577342"/>
            <a:ext cx="265543" cy="489695"/>
          </a:xfrm>
          <a:prstGeom prst="bentConnector2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split orient="vert"/>
      </p:transition>
    </mc:Choice>
    <mc:Fallback>
      <p:transition spd="slow">
        <p:split orient="vert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/>
          <p:nvPr/>
        </p:nvSpPr>
        <p:spPr bwMode="auto">
          <a:xfrm>
            <a:off x="1675713" y="38511"/>
            <a:ext cx="9138825" cy="1046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000" b="1" i="0">
                <a:solidFill>
                  <a:schemeClr val="tx1"/>
                </a:solidFill>
                <a:latin typeface="Calibri" panose="020F0502020204030204"/>
                <a:ea typeface="+mj-ea"/>
                <a:cs typeface="Calibri" panose="020F0502020204030204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anose="020F050202020403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anose="020F050202020403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anose="020F0502020204030204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anose="020F0502020204030204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anose="020F0502020204030204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anose="020F0502020204030204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altLang="ko-KR" sz="3400" dirty="0">
                <a:solidFill>
                  <a:srgbClr val="00206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RANCANGAN PENINGKATAN </a:t>
            </a:r>
            <a:endParaRPr lang="en-US" altLang="ko-KR" sz="3400" dirty="0">
              <a:solidFill>
                <a:srgbClr val="002060"/>
              </a:solidFill>
              <a:latin typeface="Tw Cen MT" panose="020B0602020104020603" pitchFamily="34" charset="0"/>
              <a:cs typeface="Arial" panose="020B0604020202020204" pitchFamily="34" charset="0"/>
            </a:endParaRPr>
          </a:p>
          <a:p>
            <a:r>
              <a:rPr lang="en-US" altLang="ko-KR" sz="3400" dirty="0">
                <a:solidFill>
                  <a:srgbClr val="002060"/>
                </a:solidFill>
                <a:latin typeface="Tw Cen MT" panose="020B0602020104020603" pitchFamily="34" charset="0"/>
                <a:cs typeface="Arial" panose="020B0604020202020204" pitchFamily="34" charset="0"/>
              </a:rPr>
              <a:t>NILAI TAMBAH &amp; DAYA SAING HORTIKULTURA</a:t>
            </a:r>
            <a:endParaRPr lang="ko-KR" altLang="en-US" sz="3400" dirty="0">
              <a:solidFill>
                <a:srgbClr val="002060"/>
              </a:solidFill>
              <a:latin typeface="Tw Cen MT" panose="020B0602020104020603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Image result for on farm vektor"/>
          <p:cNvPicPr>
            <a:picLocks noChangeAspect="1" noChangeArrowheads="1"/>
          </p:cNvPicPr>
          <p:nvPr/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44" r="16393"/>
          <a:stretch>
            <a:fillRect/>
          </a:stretch>
        </p:blipFill>
        <p:spPr bwMode="auto">
          <a:xfrm>
            <a:off x="258126" y="1305708"/>
            <a:ext cx="2592304" cy="1501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00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1716" y="950705"/>
            <a:ext cx="2984121" cy="2068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07465" y="2994565"/>
            <a:ext cx="12234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On Farm</a:t>
            </a:r>
            <a:endParaRPr lang="en-US" sz="2400" b="1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02525" y="2968005"/>
            <a:ext cx="15343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Pemasaran</a:t>
            </a:r>
            <a:endParaRPr lang="en-US" sz="2400" b="1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298699" y="2963264"/>
            <a:ext cx="1040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Ekspor</a:t>
            </a:r>
            <a:endParaRPr lang="en-US" sz="2400" b="1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1446" y="3621967"/>
            <a:ext cx="2574744" cy="2061718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 err="1">
                <a:latin typeface="Arial Narrow" panose="020B0606020202030204" pitchFamily="34" charset="0"/>
              </a:rPr>
              <a:t>Produksi</a:t>
            </a:r>
            <a:r>
              <a:rPr lang="en-ID" sz="2135" dirty="0">
                <a:latin typeface="Arial Narrow" panose="020B0606020202030204" pitchFamily="34" charset="0"/>
              </a:rPr>
              <a:t> &amp; </a:t>
            </a:r>
            <a:r>
              <a:rPr lang="en-ID" sz="2135" dirty="0" err="1">
                <a:latin typeface="Arial Narrow" panose="020B0606020202030204" pitchFamily="34" charset="0"/>
              </a:rPr>
              <a:t>Budidaya</a:t>
            </a:r>
            <a:r>
              <a:rPr lang="en-ID" sz="2135" dirty="0">
                <a:latin typeface="Arial Narrow" panose="020B0606020202030204" pitchFamily="34" charset="0"/>
              </a:rPr>
              <a:t> </a:t>
            </a:r>
            <a:endParaRPr lang="en-ID" sz="2135" dirty="0">
              <a:latin typeface="Arial Narrow" panose="020B0606020202030204" pitchFamily="34" charset="0"/>
            </a:endParaRPr>
          </a:p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 err="1">
                <a:latin typeface="Arial Narrow" panose="020B0606020202030204" pitchFamily="34" charset="0"/>
              </a:rPr>
              <a:t>Standar</a:t>
            </a:r>
            <a:r>
              <a:rPr lang="en-ID" sz="2135" dirty="0">
                <a:latin typeface="Arial Narrow" panose="020B0606020202030204" pitchFamily="34" charset="0"/>
              </a:rPr>
              <a:t> </a:t>
            </a:r>
            <a:r>
              <a:rPr lang="en-ID" sz="2135" dirty="0" err="1">
                <a:latin typeface="Arial Narrow" panose="020B0606020202030204" pitchFamily="34" charset="0"/>
              </a:rPr>
              <a:t>Mutu</a:t>
            </a:r>
            <a:r>
              <a:rPr lang="en-ID" sz="2135" dirty="0">
                <a:latin typeface="Arial Narrow" panose="020B0606020202030204" pitchFamily="34" charset="0"/>
              </a:rPr>
              <a:t>, GAP</a:t>
            </a:r>
            <a:endParaRPr lang="en-ID" sz="2135" dirty="0">
              <a:latin typeface="Arial Narrow" panose="020B0606020202030204" pitchFamily="34" charset="0"/>
            </a:endParaRPr>
          </a:p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 err="1">
                <a:latin typeface="Arial Narrow" panose="020B0606020202030204" pitchFamily="34" charset="0"/>
              </a:rPr>
              <a:t>Pasca</a:t>
            </a:r>
            <a:r>
              <a:rPr lang="en-ID" sz="2135" dirty="0">
                <a:latin typeface="Arial Narrow" panose="020B0606020202030204" pitchFamily="34" charset="0"/>
              </a:rPr>
              <a:t> </a:t>
            </a:r>
            <a:r>
              <a:rPr lang="en-ID" sz="2135" dirty="0" err="1">
                <a:latin typeface="Arial Narrow" panose="020B0606020202030204" pitchFamily="34" charset="0"/>
              </a:rPr>
              <a:t>Panen</a:t>
            </a:r>
            <a:r>
              <a:rPr lang="en-ID" sz="2135" dirty="0">
                <a:latin typeface="Arial Narrow" panose="020B0606020202030204" pitchFamily="34" charset="0"/>
              </a:rPr>
              <a:t>, GHP</a:t>
            </a:r>
            <a:endParaRPr lang="en-ID" sz="2135" dirty="0">
              <a:latin typeface="Arial Narrow" panose="020B0606020202030204" pitchFamily="34" charset="0"/>
            </a:endParaRPr>
          </a:p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 err="1">
                <a:latin typeface="Arial Narrow" panose="020B0606020202030204" pitchFamily="34" charset="0"/>
              </a:rPr>
              <a:t>Kontinuitas</a:t>
            </a:r>
            <a:r>
              <a:rPr lang="en-ID" sz="2135" dirty="0">
                <a:latin typeface="Arial Narrow" panose="020B0606020202030204" pitchFamily="34" charset="0"/>
              </a:rPr>
              <a:t> </a:t>
            </a:r>
            <a:r>
              <a:rPr lang="en-ID" sz="2135" dirty="0" err="1">
                <a:latin typeface="Arial Narrow" panose="020B0606020202030204" pitchFamily="34" charset="0"/>
              </a:rPr>
              <a:t>Produk</a:t>
            </a:r>
            <a:endParaRPr lang="en-ID" sz="2135" dirty="0">
              <a:latin typeface="Arial Narrow" panose="020B0606020202030204" pitchFamily="34" charset="0"/>
            </a:endParaRPr>
          </a:p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 err="1">
                <a:latin typeface="Arial Narrow" panose="020B0606020202030204" pitchFamily="34" charset="0"/>
              </a:rPr>
              <a:t>Keamanan</a:t>
            </a:r>
            <a:r>
              <a:rPr lang="en-ID" sz="2135" dirty="0">
                <a:latin typeface="Arial Narrow" panose="020B0606020202030204" pitchFamily="34" charset="0"/>
              </a:rPr>
              <a:t> </a:t>
            </a:r>
            <a:r>
              <a:rPr lang="en-ID" sz="2135" dirty="0" err="1">
                <a:latin typeface="Arial Narrow" panose="020B0606020202030204" pitchFamily="34" charset="0"/>
              </a:rPr>
              <a:t>Pangan</a:t>
            </a:r>
            <a:endParaRPr lang="en-ID" sz="2135" dirty="0">
              <a:latin typeface="Arial Narrow" panose="020B0606020202030204" pitchFamily="34" charset="0"/>
            </a:endParaRPr>
          </a:p>
          <a:p>
            <a:pPr marL="241300" indent="-241300">
              <a:buFont typeface="Wingdings" panose="05000000000000000000" pitchFamily="2" charset="2"/>
              <a:buChar char="§"/>
            </a:pPr>
            <a:endParaRPr lang="en-US" sz="2135" dirty="0">
              <a:latin typeface="Arial Narrow" panose="020B060602020203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641107" y="1305708"/>
            <a:ext cx="1899815" cy="1555089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3780217" y="2964798"/>
            <a:ext cx="12362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Off Farm</a:t>
            </a:r>
            <a:endParaRPr lang="en-US" sz="2400" b="1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353005" y="3576641"/>
            <a:ext cx="3026791" cy="17334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 err="1">
                <a:latin typeface="Arial Narrow" panose="020B0606020202030204" pitchFamily="34" charset="0"/>
              </a:rPr>
              <a:t>Produk</a:t>
            </a:r>
            <a:r>
              <a:rPr lang="en-ID" sz="2135" dirty="0">
                <a:latin typeface="Arial Narrow" panose="020B0606020202030204" pitchFamily="34" charset="0"/>
              </a:rPr>
              <a:t> </a:t>
            </a:r>
            <a:r>
              <a:rPr lang="en-ID" sz="2135" dirty="0" err="1">
                <a:latin typeface="Arial Narrow" panose="020B0606020202030204" pitchFamily="34" charset="0"/>
              </a:rPr>
              <a:t>Olahan</a:t>
            </a:r>
            <a:endParaRPr lang="en-ID" sz="2135" dirty="0">
              <a:latin typeface="Arial Narrow" panose="020B0606020202030204" pitchFamily="34" charset="0"/>
            </a:endParaRPr>
          </a:p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>
                <a:latin typeface="Arial Narrow" panose="020B0606020202030204" pitchFamily="34" charset="0"/>
              </a:rPr>
              <a:t>Product Dev</a:t>
            </a:r>
            <a:endParaRPr lang="en-ID" sz="2135" dirty="0">
              <a:latin typeface="Arial Narrow" panose="020B0606020202030204" pitchFamily="34" charset="0"/>
            </a:endParaRPr>
          </a:p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 err="1">
                <a:latin typeface="Arial Narrow" panose="020B0606020202030204" pitchFamily="34" charset="0"/>
              </a:rPr>
              <a:t>Dukungan</a:t>
            </a:r>
            <a:r>
              <a:rPr lang="en-ID" sz="2135" dirty="0">
                <a:latin typeface="Arial Narrow" panose="020B0606020202030204" pitchFamily="34" charset="0"/>
              </a:rPr>
              <a:t> dan Kerjasama</a:t>
            </a:r>
            <a:endParaRPr lang="en-ID" sz="2135" dirty="0">
              <a:latin typeface="Arial Narrow" panose="020B0606020202030204" pitchFamily="34" charset="0"/>
            </a:endParaRPr>
          </a:p>
          <a:p>
            <a:r>
              <a:rPr lang="en-ID" sz="2135" dirty="0">
                <a:latin typeface="Arial Narrow" panose="020B0606020202030204" pitchFamily="34" charset="0"/>
              </a:rPr>
              <a:t>    Stakeholder</a:t>
            </a:r>
            <a:endParaRPr lang="en-ID" sz="2135" dirty="0">
              <a:latin typeface="Arial Narrow" panose="020B0606020202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D" sz="2135" dirty="0" err="1">
                <a:latin typeface="Arial Narrow" panose="020B0606020202030204" pitchFamily="34" charset="0"/>
              </a:rPr>
              <a:t>Pemanfaatan</a:t>
            </a:r>
            <a:r>
              <a:rPr lang="en-ID" sz="2135" dirty="0">
                <a:latin typeface="Arial Narrow" panose="020B0606020202030204" pitchFamily="34" charset="0"/>
              </a:rPr>
              <a:t> </a:t>
            </a:r>
            <a:r>
              <a:rPr lang="en-ID" sz="2135" dirty="0" err="1">
                <a:latin typeface="Arial Narrow" panose="020B0606020202030204" pitchFamily="34" charset="0"/>
              </a:rPr>
              <a:t>Teknologi</a:t>
            </a:r>
            <a:endParaRPr lang="en-US" sz="2135" dirty="0">
              <a:latin typeface="Arial Narrow" panose="020B0606020202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379796" y="3529456"/>
            <a:ext cx="3132878" cy="23899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>
                <a:latin typeface="Arial Narrow" panose="020B0606020202030204" pitchFamily="34" charset="0"/>
              </a:rPr>
              <a:t>Branding</a:t>
            </a:r>
            <a:endParaRPr lang="en-ID" sz="2135" dirty="0">
              <a:latin typeface="Arial Narrow" panose="020B0606020202030204" pitchFamily="34" charset="0"/>
            </a:endParaRPr>
          </a:p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 err="1">
                <a:latin typeface="Arial Narrow" panose="020B0606020202030204" pitchFamily="34" charset="0"/>
              </a:rPr>
              <a:t>Promosi</a:t>
            </a:r>
            <a:endParaRPr lang="en-ID" sz="2135" dirty="0">
              <a:latin typeface="Arial Narrow" panose="020B0606020202030204" pitchFamily="34" charset="0"/>
            </a:endParaRPr>
          </a:p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 err="1">
                <a:latin typeface="Arial Narrow" panose="020B0606020202030204" pitchFamily="34" charset="0"/>
              </a:rPr>
              <a:t>Sertifikasi</a:t>
            </a:r>
            <a:endParaRPr lang="en-ID" sz="2135" dirty="0">
              <a:latin typeface="Arial Narrow" panose="020B0606020202030204" pitchFamily="34" charset="0"/>
            </a:endParaRPr>
          </a:p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 err="1">
                <a:latin typeface="Arial Narrow" panose="020B0606020202030204" pitchFamily="34" charset="0"/>
              </a:rPr>
              <a:t>Informasi</a:t>
            </a:r>
            <a:r>
              <a:rPr lang="en-ID" sz="2135" dirty="0">
                <a:latin typeface="Arial Narrow" panose="020B0606020202030204" pitchFamily="34" charset="0"/>
              </a:rPr>
              <a:t> Harga</a:t>
            </a:r>
            <a:endParaRPr lang="en-ID" sz="2135" dirty="0">
              <a:latin typeface="Arial Narrow" panose="020B0606020202030204" pitchFamily="34" charset="0"/>
            </a:endParaRPr>
          </a:p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>
                <a:latin typeface="Arial Narrow" panose="020B0606020202030204" pitchFamily="34" charset="0"/>
              </a:rPr>
              <a:t>Pasar </a:t>
            </a:r>
            <a:r>
              <a:rPr lang="en-ID" sz="2135" dirty="0" err="1">
                <a:latin typeface="Arial Narrow" panose="020B0606020202030204" pitchFamily="34" charset="0"/>
              </a:rPr>
              <a:t>tani</a:t>
            </a:r>
            <a:endParaRPr lang="en-ID" sz="2135" dirty="0">
              <a:latin typeface="Arial Narrow" panose="020B0606020202030204" pitchFamily="34" charset="0"/>
            </a:endParaRPr>
          </a:p>
          <a:p>
            <a:pPr marL="241300" indent="-241300">
              <a:buFont typeface="Wingdings" panose="05000000000000000000" pitchFamily="2" charset="2"/>
              <a:buChar char="§"/>
            </a:pPr>
            <a:r>
              <a:rPr lang="en-ID" sz="2135" dirty="0">
                <a:latin typeface="Arial Narrow" panose="020B0606020202030204" pitchFamily="34" charset="0"/>
              </a:rPr>
              <a:t>Supply Chain (</a:t>
            </a:r>
            <a:r>
              <a:rPr lang="en-ID" sz="2135" dirty="0" err="1">
                <a:latin typeface="Arial Narrow" panose="020B0606020202030204" pitchFamily="34" charset="0"/>
              </a:rPr>
              <a:t>Distribusi</a:t>
            </a:r>
            <a:r>
              <a:rPr lang="en-ID" sz="2135" dirty="0">
                <a:latin typeface="Arial Narrow" panose="020B0606020202030204" pitchFamily="34" charset="0"/>
              </a:rPr>
              <a:t>, Gudang</a:t>
            </a:r>
            <a:endParaRPr lang="en-ID" sz="2135" dirty="0">
              <a:latin typeface="Arial Narrow" panose="020B0606020202030204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103781" y="2963263"/>
            <a:ext cx="11774125" cy="31301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V="1">
            <a:off x="103781" y="3504900"/>
            <a:ext cx="11774125" cy="31301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14156" y="1659430"/>
            <a:ext cx="990884" cy="793497"/>
          </a:xfrm>
          <a:prstGeom prst="rect">
            <a:avLst/>
          </a:prstGeom>
        </p:spPr>
      </p:pic>
      <p:cxnSp>
        <p:nvCxnSpPr>
          <p:cNvPr id="33" name="Straight Connector 32"/>
          <p:cNvCxnSpPr/>
          <p:nvPr/>
        </p:nvCxnSpPr>
        <p:spPr>
          <a:xfrm flipV="1">
            <a:off x="84194" y="5965498"/>
            <a:ext cx="11774125" cy="31301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flipV="1">
            <a:off x="112226" y="6745447"/>
            <a:ext cx="11774125" cy="31301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402998" y="5972786"/>
            <a:ext cx="16017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ID" sz="2400" b="1" dirty="0">
                <a:solidFill>
                  <a:srgbClr val="002060"/>
                </a:solidFill>
                <a:latin typeface="Arial Narrow" panose="020B0606020202030204" pitchFamily="34" charset="0"/>
              </a:rPr>
              <a:t>STO, </a:t>
            </a:r>
            <a:endParaRPr lang="en-ID" sz="24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en-ID" sz="2400" b="1" dirty="0" err="1">
                <a:solidFill>
                  <a:srgbClr val="002060"/>
                </a:solidFill>
                <a:latin typeface="Arial Narrow" panose="020B0606020202030204" pitchFamily="34" charset="0"/>
              </a:rPr>
              <a:t>Buflo</a:t>
            </a:r>
            <a:r>
              <a:rPr lang="en-ID" sz="2400" b="1" dirty="0">
                <a:solidFill>
                  <a:srgbClr val="002060"/>
                </a:solidFill>
                <a:latin typeface="Arial Narrow" panose="020B0606020202030204" pitchFamily="34" charset="0"/>
              </a:rPr>
              <a:t>, </a:t>
            </a:r>
            <a:r>
              <a:rPr lang="en-ID" sz="2400" b="1" dirty="0" err="1">
                <a:solidFill>
                  <a:srgbClr val="002060"/>
                </a:solidFill>
                <a:latin typeface="Arial Narrow" panose="020B0606020202030204" pitchFamily="34" charset="0"/>
              </a:rPr>
              <a:t>Ditlin</a:t>
            </a:r>
            <a:endParaRPr lang="en-US" sz="24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091385" y="6149446"/>
            <a:ext cx="10951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ID" sz="2400" b="1" dirty="0" err="1">
                <a:solidFill>
                  <a:srgbClr val="002060"/>
                </a:solidFill>
                <a:latin typeface="Arial Narrow" panose="020B0606020202030204" pitchFamily="34" charset="0"/>
              </a:rPr>
              <a:t>Litbang</a:t>
            </a:r>
            <a:endParaRPr lang="en-US" sz="24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393530" y="6119740"/>
            <a:ext cx="2694969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2665" b="1" dirty="0" err="1">
                <a:solidFill>
                  <a:srgbClr val="002060"/>
                </a:solidFill>
                <a:latin typeface="Arial Narrow" panose="020B0606020202030204" pitchFamily="34" charset="0"/>
              </a:rPr>
              <a:t>Kemendag</a:t>
            </a:r>
            <a:r>
              <a:rPr lang="en-ID" sz="2665" b="1" dirty="0">
                <a:solidFill>
                  <a:srgbClr val="002060"/>
                </a:solidFill>
                <a:latin typeface="Arial Narrow" panose="020B0606020202030204" pitchFamily="34" charset="0"/>
              </a:rPr>
              <a:t>, </a:t>
            </a:r>
            <a:r>
              <a:rPr lang="en-ID" sz="2665" b="1" dirty="0" err="1">
                <a:solidFill>
                  <a:srgbClr val="002060"/>
                </a:solidFill>
                <a:latin typeface="Arial Narrow" panose="020B0606020202030204" pitchFamily="34" charset="0"/>
              </a:rPr>
              <a:t>Pemda</a:t>
            </a:r>
            <a:endParaRPr lang="en-ID" sz="2665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9548392" y="6090002"/>
            <a:ext cx="2130711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2665" b="1" dirty="0" err="1">
                <a:solidFill>
                  <a:srgbClr val="002060"/>
                </a:solidFill>
                <a:latin typeface="Arial Narrow" panose="020B0606020202030204" pitchFamily="34" charset="0"/>
              </a:rPr>
              <a:t>Barantan</a:t>
            </a:r>
            <a:r>
              <a:rPr lang="en-ID" sz="2665" b="1" dirty="0">
                <a:solidFill>
                  <a:srgbClr val="002060"/>
                </a:solidFill>
                <a:latin typeface="Arial Narrow" panose="020B0606020202030204" pitchFamily="34" charset="0"/>
              </a:rPr>
              <a:t>, KLN</a:t>
            </a:r>
            <a:endParaRPr lang="en-US" sz="2665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3083144" y="1796819"/>
            <a:ext cx="574916" cy="806268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3" name="Right Arrow 42"/>
          <p:cNvSpPr/>
          <p:nvPr/>
        </p:nvSpPr>
        <p:spPr>
          <a:xfrm>
            <a:off x="5679931" y="1766685"/>
            <a:ext cx="574916" cy="806268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4" name="Right Arrow 43"/>
          <p:cNvSpPr/>
          <p:nvPr/>
        </p:nvSpPr>
        <p:spPr>
          <a:xfrm>
            <a:off x="8108614" y="1727959"/>
            <a:ext cx="574916" cy="806268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0" name="TextBox 9"/>
          <p:cNvSpPr txBox="1"/>
          <p:nvPr/>
        </p:nvSpPr>
        <p:spPr>
          <a:xfrm>
            <a:off x="8963270" y="3582293"/>
            <a:ext cx="3105337" cy="140525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241300" indent="-241300">
              <a:buFont typeface="Wingdings" panose="05000000000000000000" pitchFamily="2" charset="2"/>
              <a:buChar char="§"/>
              <a:defRPr sz="2135">
                <a:latin typeface="Arial Narrow" panose="020B0606020202030204" pitchFamily="34" charset="0"/>
              </a:defRPr>
            </a:lvl1pPr>
          </a:lstStyle>
          <a:p>
            <a:r>
              <a:rPr lang="en-ID" dirty="0" err="1"/>
              <a:t>Negosiasi</a:t>
            </a:r>
            <a:r>
              <a:rPr lang="en-ID" dirty="0"/>
              <a:t> market </a:t>
            </a:r>
            <a:r>
              <a:rPr lang="en-ID" dirty="0" err="1"/>
              <a:t>akses</a:t>
            </a:r>
            <a:endParaRPr lang="en-ID" dirty="0"/>
          </a:p>
          <a:p>
            <a:r>
              <a:rPr lang="en-ID" dirty="0" err="1"/>
              <a:t>Equivalensi</a:t>
            </a:r>
            <a:r>
              <a:rPr lang="en-ID" dirty="0"/>
              <a:t> &amp; </a:t>
            </a:r>
            <a:r>
              <a:rPr lang="en-ID" dirty="0" err="1"/>
              <a:t>Recognisi</a:t>
            </a:r>
            <a:endParaRPr lang="en-ID" dirty="0"/>
          </a:p>
          <a:p>
            <a:r>
              <a:rPr lang="en-ID" dirty="0" err="1"/>
              <a:t>Pemenuhan</a:t>
            </a:r>
            <a:r>
              <a:rPr lang="en-ID" dirty="0"/>
              <a:t> protocol</a:t>
            </a:r>
            <a:endParaRPr lang="en-ID" dirty="0"/>
          </a:p>
          <a:p>
            <a:pPr marL="0" indent="0">
              <a:buNone/>
            </a:pPr>
            <a:r>
              <a:rPr lang="en-ID" dirty="0"/>
              <a:t> </a:t>
            </a:r>
            <a:r>
              <a:rPr lang="en-ID" dirty="0" err="1"/>
              <a:t>ekspor</a:t>
            </a:r>
            <a:endParaRPr lang="en-ID" dirty="0"/>
          </a:p>
        </p:txBody>
      </p:sp>
    </p:spTree>
  </p:cSld>
  <p:clrMapOvr>
    <a:masterClrMapping/>
  </p:clrMapOvr>
  <p:transition spd="slow">
    <p:comb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7" grpId="0"/>
      <p:bldP spid="18" grpId="0"/>
      <p:bldP spid="9" grpId="0"/>
      <p:bldP spid="22" grpId="0"/>
      <p:bldP spid="23" grpId="0"/>
      <p:bldP spid="24" grpId="0"/>
      <p:bldP spid="35" grpId="0"/>
      <p:bldP spid="36" grpId="0"/>
      <p:bldP spid="37" grpId="0"/>
      <p:bldP spid="39" grpId="0"/>
      <p:bldP spid="20" grpId="0" animBg="1"/>
      <p:bldP spid="43" grpId="0" animBg="1"/>
      <p:bldP spid="4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 flipV="1">
            <a:off x="528705" y="4658609"/>
            <a:ext cx="10569771" cy="953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flipV="1">
            <a:off x="849395" y="1794899"/>
            <a:ext cx="35005" cy="295905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0" y="975286"/>
            <a:ext cx="1768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embangunan </a:t>
            </a:r>
            <a:r>
              <a:rPr lang="en-US" dirty="0" err="1"/>
              <a:t>kebun</a:t>
            </a:r>
            <a:r>
              <a:rPr lang="en-US" dirty="0"/>
              <a:t>/</a:t>
            </a:r>
            <a:r>
              <a:rPr lang="en-US" dirty="0" err="1"/>
              <a:t>kawasan</a:t>
            </a:r>
            <a:endParaRPr lang="en-ID" dirty="0"/>
          </a:p>
        </p:txBody>
      </p:sp>
      <p:cxnSp>
        <p:nvCxnSpPr>
          <p:cNvPr id="11" name="Straight Arrow Connector 10"/>
          <p:cNvCxnSpPr/>
          <p:nvPr/>
        </p:nvCxnSpPr>
        <p:spPr>
          <a:xfrm flipV="1">
            <a:off x="1631241" y="3219837"/>
            <a:ext cx="0" cy="1486442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117019" y="2734485"/>
            <a:ext cx="13035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penanaman</a:t>
            </a:r>
            <a:endParaRPr lang="en-ID" dirty="0"/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2824950" y="2242574"/>
            <a:ext cx="0" cy="246200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258631" y="1809484"/>
            <a:ext cx="15234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Pemeliharaan</a:t>
            </a:r>
            <a:endParaRPr lang="en-ID" dirty="0"/>
          </a:p>
        </p:txBody>
      </p:sp>
      <p:cxnSp>
        <p:nvCxnSpPr>
          <p:cNvPr id="18" name="Straight Arrow Connector 17"/>
          <p:cNvCxnSpPr/>
          <p:nvPr/>
        </p:nvCxnSpPr>
        <p:spPr>
          <a:xfrm flipV="1">
            <a:off x="6365554" y="3534068"/>
            <a:ext cx="0" cy="1190691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079905" y="2781822"/>
            <a:ext cx="13005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Pemanenan</a:t>
            </a:r>
            <a:endParaRPr lang="en-ID" dirty="0"/>
          </a:p>
        </p:txBody>
      </p:sp>
      <p:cxnSp>
        <p:nvCxnSpPr>
          <p:cNvPr id="20" name="Straight Arrow Connector 19"/>
          <p:cNvCxnSpPr>
            <a:endCxn id="51" idx="2"/>
          </p:cNvCxnSpPr>
          <p:nvPr/>
        </p:nvCxnSpPr>
        <p:spPr>
          <a:xfrm flipH="1" flipV="1">
            <a:off x="7478742" y="2870875"/>
            <a:ext cx="46186" cy="183568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5481340" y="3244143"/>
            <a:ext cx="18201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Sortasi</a:t>
            </a:r>
            <a:r>
              <a:rPr lang="en-US" dirty="0"/>
              <a:t> &amp; Grading</a:t>
            </a:r>
            <a:endParaRPr lang="en-ID" dirty="0"/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8463843" y="2181898"/>
            <a:ext cx="0" cy="2511375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7816508" y="1591250"/>
            <a:ext cx="15031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Pergudangan</a:t>
            </a:r>
            <a:r>
              <a:rPr lang="en-US" dirty="0"/>
              <a:t>/</a:t>
            </a:r>
            <a:endParaRPr lang="en-US" dirty="0"/>
          </a:p>
          <a:p>
            <a:r>
              <a:rPr lang="en-US" dirty="0" err="1"/>
              <a:t>penyimpanan</a:t>
            </a:r>
            <a:endParaRPr lang="en-ID" dirty="0"/>
          </a:p>
        </p:txBody>
      </p:sp>
      <p:cxnSp>
        <p:nvCxnSpPr>
          <p:cNvPr id="24" name="Straight Arrow Connector 23"/>
          <p:cNvCxnSpPr/>
          <p:nvPr/>
        </p:nvCxnSpPr>
        <p:spPr>
          <a:xfrm flipV="1">
            <a:off x="5242143" y="3238849"/>
            <a:ext cx="0" cy="1486442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9396488" y="2561537"/>
            <a:ext cx="13313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Distribusi</a:t>
            </a:r>
            <a:r>
              <a:rPr lang="en-US" dirty="0"/>
              <a:t>&amp;</a:t>
            </a:r>
            <a:endParaRPr lang="en-US" dirty="0"/>
          </a:p>
          <a:p>
            <a:r>
              <a:rPr lang="en-US" dirty="0" err="1"/>
              <a:t>Transportasi</a:t>
            </a:r>
            <a:endParaRPr lang="en-ID" dirty="0"/>
          </a:p>
        </p:txBody>
      </p:sp>
      <p:sp>
        <p:nvSpPr>
          <p:cNvPr id="28" name="Arrow: Left-Right-Up 27"/>
          <p:cNvSpPr/>
          <p:nvPr/>
        </p:nvSpPr>
        <p:spPr>
          <a:xfrm>
            <a:off x="2357438" y="4727287"/>
            <a:ext cx="2986087" cy="1311828"/>
          </a:xfrm>
          <a:prstGeom prst="leftRightUpArrow">
            <a:avLst>
              <a:gd name="adj1" fmla="val 25000"/>
              <a:gd name="adj2" fmla="val 25000"/>
              <a:gd name="adj3" fmla="val 2500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Sertifikasi</a:t>
            </a:r>
            <a:r>
              <a:rPr lang="en-US" dirty="0">
                <a:solidFill>
                  <a:schemeClr val="tx1"/>
                </a:solidFill>
              </a:rPr>
              <a:t> GAP</a:t>
            </a:r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30" name="Arrow: Left-Right-Up 29"/>
          <p:cNvSpPr/>
          <p:nvPr/>
        </p:nvSpPr>
        <p:spPr>
          <a:xfrm>
            <a:off x="5380454" y="4704574"/>
            <a:ext cx="4089473" cy="1311828"/>
          </a:xfrm>
          <a:prstGeom prst="leftRightUpArrow">
            <a:avLst>
              <a:gd name="adj1" fmla="val 25000"/>
              <a:gd name="adj2" fmla="val 25000"/>
              <a:gd name="adj3" fmla="val 2500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Sertifikasi</a:t>
            </a:r>
            <a:r>
              <a:rPr lang="en-US" dirty="0">
                <a:solidFill>
                  <a:schemeClr val="tx1"/>
                </a:solidFill>
              </a:rPr>
              <a:t> GHP (</a:t>
            </a:r>
            <a:r>
              <a:rPr lang="en-US" dirty="0" err="1">
                <a:solidFill>
                  <a:schemeClr val="tx1"/>
                </a:solidFill>
              </a:rPr>
              <a:t>Registras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angsal</a:t>
            </a:r>
            <a:r>
              <a:rPr lang="en-US" dirty="0">
                <a:solidFill>
                  <a:schemeClr val="tx1"/>
                </a:solidFill>
              </a:rPr>
              <a:t>)</a:t>
            </a:r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32" name="Arrow: Left-Right-Up 31"/>
          <p:cNvSpPr/>
          <p:nvPr/>
        </p:nvSpPr>
        <p:spPr>
          <a:xfrm>
            <a:off x="858006" y="4761337"/>
            <a:ext cx="1497551" cy="1264986"/>
          </a:xfrm>
          <a:prstGeom prst="leftRightUpArrow">
            <a:avLst>
              <a:gd name="adj1" fmla="val 25000"/>
              <a:gd name="adj2" fmla="val 25000"/>
              <a:gd name="adj3" fmla="val 2500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Registrasi</a:t>
            </a:r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33" name="Rectangle: Top Corners Rounded 32"/>
          <p:cNvSpPr/>
          <p:nvPr/>
        </p:nvSpPr>
        <p:spPr>
          <a:xfrm>
            <a:off x="825898" y="4390212"/>
            <a:ext cx="771120" cy="268397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5" name="Rectangle: Top Corners Rounded 34"/>
          <p:cNvSpPr/>
          <p:nvPr/>
        </p:nvSpPr>
        <p:spPr>
          <a:xfrm>
            <a:off x="1631241" y="4015061"/>
            <a:ext cx="1183387" cy="299670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7" name="Rectangle: Top Corners Rounded 36"/>
          <p:cNvSpPr/>
          <p:nvPr/>
        </p:nvSpPr>
        <p:spPr>
          <a:xfrm>
            <a:off x="2801364" y="3725645"/>
            <a:ext cx="2458713" cy="299670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1" name="Rectangle: Top Corners Rounded 40"/>
          <p:cNvSpPr/>
          <p:nvPr/>
        </p:nvSpPr>
        <p:spPr>
          <a:xfrm>
            <a:off x="5224204" y="4087738"/>
            <a:ext cx="1141350" cy="299670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5" name="Rectangle: Top Corners Rounded 44"/>
          <p:cNvSpPr/>
          <p:nvPr/>
        </p:nvSpPr>
        <p:spPr>
          <a:xfrm>
            <a:off x="6365554" y="3818544"/>
            <a:ext cx="1141350" cy="299670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7" name="Rectangle: Top Corners Rounded 46"/>
          <p:cNvSpPr/>
          <p:nvPr/>
        </p:nvSpPr>
        <p:spPr>
          <a:xfrm>
            <a:off x="7494930" y="4135395"/>
            <a:ext cx="934691" cy="299670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48" name="Straight Arrow Connector 47"/>
          <p:cNvCxnSpPr/>
          <p:nvPr/>
        </p:nvCxnSpPr>
        <p:spPr>
          <a:xfrm flipV="1">
            <a:off x="9471808" y="3217624"/>
            <a:ext cx="0" cy="1486442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6790957" y="2501543"/>
            <a:ext cx="13755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Pengemasan</a:t>
            </a:r>
            <a:endParaRPr lang="en-ID" dirty="0"/>
          </a:p>
        </p:txBody>
      </p:sp>
      <p:sp>
        <p:nvSpPr>
          <p:cNvPr id="53" name="Rectangle: Top Corners Rounded 52"/>
          <p:cNvSpPr/>
          <p:nvPr/>
        </p:nvSpPr>
        <p:spPr>
          <a:xfrm>
            <a:off x="8474324" y="3619710"/>
            <a:ext cx="981697" cy="299670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5" name="Rectangle: Top Corners Rounded 54"/>
          <p:cNvSpPr/>
          <p:nvPr/>
        </p:nvSpPr>
        <p:spPr>
          <a:xfrm>
            <a:off x="9473678" y="3957863"/>
            <a:ext cx="1134634" cy="299670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2" name="Oval 61"/>
          <p:cNvSpPr/>
          <p:nvPr/>
        </p:nvSpPr>
        <p:spPr>
          <a:xfrm>
            <a:off x="9686526" y="4704066"/>
            <a:ext cx="2266950" cy="212955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AMINAN KUALITAS (DAYA SAING) </a:t>
            </a:r>
            <a:endParaRPr lang="en-ID" dirty="0"/>
          </a:p>
        </p:txBody>
      </p:sp>
      <p:sp>
        <p:nvSpPr>
          <p:cNvPr id="63" name="TextBox 62"/>
          <p:cNvSpPr txBox="1"/>
          <p:nvPr/>
        </p:nvSpPr>
        <p:spPr>
          <a:xfrm>
            <a:off x="25303" y="73826"/>
            <a:ext cx="12166697" cy="46166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2400" b="1" dirty="0"/>
              <a:t>SIKLUS SERTIFIKASI JAMINAN KUALITAS PRODUK HORTIKULTURA</a:t>
            </a:r>
            <a:endParaRPr lang="en-ID" sz="2400" b="1" dirty="0"/>
          </a:p>
        </p:txBody>
      </p:sp>
    </p:spTree>
  </p:cSld>
  <p:clrMapOvr>
    <a:masterClrMapping/>
  </p:clrMapOvr>
  <p:transition spd="med">
    <p:pull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/>
          </p:cNvSpPr>
          <p:nvPr>
            <p:ph type="title" idx="4294967295"/>
          </p:nvPr>
        </p:nvSpPr>
        <p:spPr>
          <a:xfrm>
            <a:off x="5" y="0"/>
            <a:ext cx="12191999" cy="1116106"/>
          </a:xfrm>
          <a:solidFill>
            <a:srgbClr val="92D050"/>
          </a:solidFill>
        </p:spPr>
        <p:txBody>
          <a:bodyPr/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600" dirty="0" err="1">
                <a:latin typeface="Britannic Bold" panose="020B0903060703020204" pitchFamily="34" charset="0"/>
                <a:cs typeface="Arial" panose="020B0604020202020204" pitchFamily="34" charset="0"/>
              </a:rPr>
              <a:t>Rantai</a:t>
            </a:r>
            <a:r>
              <a:rPr lang="en-US" altLang="en-US" sz="3600" dirty="0">
                <a:latin typeface="Britannic Bold" panose="020B0903060703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3600" dirty="0" err="1">
                <a:latin typeface="Britannic Bold" panose="020B0903060703020204" pitchFamily="34" charset="0"/>
                <a:cs typeface="Arial" panose="020B0604020202020204" pitchFamily="34" charset="0"/>
              </a:rPr>
              <a:t>Pasok</a:t>
            </a:r>
            <a:r>
              <a:rPr lang="en-US" altLang="en-US" sz="3600" dirty="0">
                <a:latin typeface="Britannic Bold" panose="020B0903060703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3600" dirty="0" err="1">
                <a:latin typeface="Britannic Bold" panose="020B0903060703020204" pitchFamily="34" charset="0"/>
                <a:cs typeface="Arial" panose="020B0604020202020204" pitchFamily="34" charset="0"/>
              </a:rPr>
              <a:t>Produk</a:t>
            </a:r>
            <a:r>
              <a:rPr lang="en-US" altLang="en-US" sz="3600" dirty="0">
                <a:latin typeface="Britannic Bold" panose="020B0903060703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3600" dirty="0" err="1">
                <a:latin typeface="Britannic Bold" panose="020B0903060703020204" pitchFamily="34" charset="0"/>
                <a:cs typeface="Arial" panose="020B0604020202020204" pitchFamily="34" charset="0"/>
              </a:rPr>
              <a:t>Pertanian</a:t>
            </a:r>
            <a:endParaRPr lang="en-US" altLang="en-US" sz="3600" dirty="0">
              <a:latin typeface="Britannic Bold" panose="020B0903060703020204" pitchFamily="34" charset="0"/>
              <a:cs typeface="Arial" panose="020B0604020202020204" pitchFamily="34" charset="0"/>
            </a:endParaRPr>
          </a:p>
        </p:txBody>
      </p:sp>
      <p:grpSp>
        <p:nvGrpSpPr>
          <p:cNvPr id="20483" name="Group 3"/>
          <p:cNvGrpSpPr/>
          <p:nvPr/>
        </p:nvGrpSpPr>
        <p:grpSpPr bwMode="auto">
          <a:xfrm>
            <a:off x="719141" y="1628781"/>
            <a:ext cx="10558463" cy="1306513"/>
            <a:chOff x="208" y="1160"/>
            <a:chExt cx="5416" cy="903"/>
          </a:xfrm>
          <a:solidFill>
            <a:schemeClr val="accent6">
              <a:lumMod val="20000"/>
              <a:lumOff val="80000"/>
            </a:schemeClr>
          </a:solidFill>
        </p:grpSpPr>
        <p:grpSp>
          <p:nvGrpSpPr>
            <p:cNvPr id="20500" name="Group 4"/>
            <p:cNvGrpSpPr/>
            <p:nvPr/>
          </p:nvGrpSpPr>
          <p:grpSpPr bwMode="auto">
            <a:xfrm>
              <a:off x="208" y="1176"/>
              <a:ext cx="1076" cy="887"/>
              <a:chOff x="400" y="1216"/>
              <a:chExt cx="896" cy="887"/>
            </a:xfrm>
            <a:grpFill/>
          </p:grpSpPr>
          <p:sp>
            <p:nvSpPr>
              <p:cNvPr id="20512" name="AutoShape 5"/>
              <p:cNvSpPr>
                <a:spLocks noChangeAspect="1" noChangeArrowheads="1"/>
              </p:cNvSpPr>
              <p:nvPr/>
            </p:nvSpPr>
            <p:spPr bwMode="auto">
              <a:xfrm>
                <a:off x="400" y="1216"/>
                <a:ext cx="896" cy="887"/>
              </a:xfrm>
              <a:prstGeom prst="homePlate">
                <a:avLst>
                  <a:gd name="adj" fmla="val 25254"/>
                </a:avLst>
              </a:prstGeom>
              <a:grpFill/>
              <a:ln w="28575">
                <a:solidFill>
                  <a:schemeClr val="tx1"/>
                </a:solidFill>
                <a:miter lim="800000"/>
              </a:ln>
            </p:spPr>
            <p:txBody>
              <a:bodyPr anchor="ctr"/>
              <a:lstStyle>
                <a:lvl1pPr>
                  <a:lnSpc>
                    <a:spcPct val="120000"/>
                  </a:lnSpc>
                  <a:spcBef>
                    <a:spcPts val="1000"/>
                  </a:spcBef>
                  <a:buSzPct val="125000"/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1pPr>
                <a:lvl2pPr marL="742950" indent="-28575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2pPr>
                <a:lvl3pPr marL="11430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3pPr>
                <a:lvl4pPr marL="16002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4pPr>
                <a:lvl5pPr marL="20574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5pPr>
                <a:lvl6pPr marL="25146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6pPr>
                <a:lvl7pPr marL="29718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7pPr>
                <a:lvl8pPr marL="34290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8pPr>
                <a:lvl9pPr marL="38862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SzTx/>
                  <a:buFontTx/>
                  <a:buNone/>
                </a:pPr>
                <a:endParaRPr lang="id-ID" altLang="en-US" sz="1600" b="1">
                  <a:solidFill>
                    <a:srgbClr val="7030A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0513" name="AutoShape 6"/>
              <p:cNvSpPr>
                <a:spLocks noChangeArrowheads="1"/>
              </p:cNvSpPr>
              <p:nvPr/>
            </p:nvSpPr>
            <p:spPr bwMode="auto">
              <a:xfrm>
                <a:off x="440" y="1256"/>
                <a:ext cx="816" cy="808"/>
              </a:xfrm>
              <a:prstGeom prst="homePlate">
                <a:avLst>
                  <a:gd name="adj" fmla="val 25248"/>
                </a:avLst>
              </a:prstGeom>
              <a:solidFill>
                <a:srgbClr val="FF66CC"/>
              </a:solidFill>
              <a:ln w="9525">
                <a:solidFill>
                  <a:srgbClr val="000000"/>
                </a:solidFill>
                <a:miter lim="800000"/>
              </a:ln>
            </p:spPr>
            <p:txBody>
              <a:bodyPr anchor="ctr"/>
              <a:lstStyle>
                <a:lvl1pPr>
                  <a:lnSpc>
                    <a:spcPct val="120000"/>
                  </a:lnSpc>
                  <a:spcBef>
                    <a:spcPts val="1000"/>
                  </a:spcBef>
                  <a:buSzPct val="125000"/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1pPr>
                <a:lvl2pPr marL="742950" indent="-28575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2pPr>
                <a:lvl3pPr marL="11430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3pPr>
                <a:lvl4pPr marL="16002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4pPr>
                <a:lvl5pPr marL="20574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5pPr>
                <a:lvl6pPr marL="25146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6pPr>
                <a:lvl7pPr marL="29718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7pPr>
                <a:lvl8pPr marL="34290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8pPr>
                <a:lvl9pPr marL="38862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SzTx/>
                  <a:buFontTx/>
                  <a:buNone/>
                </a:pPr>
                <a:r>
                  <a:rPr lang="en-US" altLang="en-US" sz="1600" b="1" dirty="0" err="1">
                    <a:solidFill>
                      <a:srgbClr val="7030A0"/>
                    </a:solidFill>
                    <a:latin typeface="Century Gothic" panose="020B0502020202020204" pitchFamily="34" charset="0"/>
                  </a:rPr>
                  <a:t>Kegiatan</a:t>
                </a:r>
                <a:r>
                  <a:rPr lang="en-US" altLang="en-US" sz="1600" b="1" dirty="0">
                    <a:solidFill>
                      <a:srgbClr val="7030A0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id-ID" altLang="en-US" sz="1600" b="1" dirty="0">
                    <a:solidFill>
                      <a:srgbClr val="7030A0"/>
                    </a:solidFill>
                    <a:latin typeface="Century Gothic" panose="020B0502020202020204" pitchFamily="34" charset="0"/>
                  </a:rPr>
                  <a:t>Budidaya</a:t>
                </a:r>
                <a:endParaRPr lang="en-US" altLang="en-US" sz="1600" b="1" dirty="0">
                  <a:solidFill>
                    <a:srgbClr val="7030A0"/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20501" name="Group 7"/>
            <p:cNvGrpSpPr/>
            <p:nvPr/>
          </p:nvGrpSpPr>
          <p:grpSpPr bwMode="auto">
            <a:xfrm>
              <a:off x="1293" y="1168"/>
              <a:ext cx="1076" cy="887"/>
              <a:chOff x="400" y="1216"/>
              <a:chExt cx="896" cy="887"/>
            </a:xfrm>
            <a:grpFill/>
          </p:grpSpPr>
          <p:sp>
            <p:nvSpPr>
              <p:cNvPr id="20510" name="AutoShape 8"/>
              <p:cNvSpPr>
                <a:spLocks noChangeAspect="1" noChangeArrowheads="1"/>
              </p:cNvSpPr>
              <p:nvPr/>
            </p:nvSpPr>
            <p:spPr bwMode="auto">
              <a:xfrm>
                <a:off x="400" y="1216"/>
                <a:ext cx="896" cy="887"/>
              </a:xfrm>
              <a:prstGeom prst="homePlate">
                <a:avLst>
                  <a:gd name="adj" fmla="val 25254"/>
                </a:avLst>
              </a:prstGeom>
              <a:solidFill>
                <a:srgbClr val="66CCFF"/>
              </a:solidFill>
              <a:ln w="28575">
                <a:solidFill>
                  <a:schemeClr val="tx1"/>
                </a:solidFill>
                <a:miter lim="800000"/>
              </a:ln>
            </p:spPr>
            <p:txBody>
              <a:bodyPr anchor="ctr"/>
              <a:lstStyle>
                <a:lvl1pPr>
                  <a:lnSpc>
                    <a:spcPct val="120000"/>
                  </a:lnSpc>
                  <a:spcBef>
                    <a:spcPts val="1000"/>
                  </a:spcBef>
                  <a:buSzPct val="125000"/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1pPr>
                <a:lvl2pPr marL="742950" indent="-28575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2pPr>
                <a:lvl3pPr marL="11430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3pPr>
                <a:lvl4pPr marL="16002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4pPr>
                <a:lvl5pPr marL="20574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5pPr>
                <a:lvl6pPr marL="25146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6pPr>
                <a:lvl7pPr marL="29718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7pPr>
                <a:lvl8pPr marL="34290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8pPr>
                <a:lvl9pPr marL="38862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SzTx/>
                  <a:buFontTx/>
                  <a:buNone/>
                </a:pPr>
                <a:endParaRPr lang="id-ID" altLang="en-US" sz="1600" b="1">
                  <a:solidFill>
                    <a:srgbClr val="7030A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0511" name="AutoShape 9"/>
              <p:cNvSpPr>
                <a:spLocks noChangeArrowheads="1"/>
              </p:cNvSpPr>
              <p:nvPr/>
            </p:nvSpPr>
            <p:spPr bwMode="auto">
              <a:xfrm>
                <a:off x="440" y="1256"/>
                <a:ext cx="816" cy="808"/>
              </a:xfrm>
              <a:prstGeom prst="homePlate">
                <a:avLst>
                  <a:gd name="adj" fmla="val 25248"/>
                </a:avLst>
              </a:prstGeom>
              <a:grpFill/>
              <a:ln w="9525">
                <a:solidFill>
                  <a:srgbClr val="000000"/>
                </a:solidFill>
                <a:miter lim="800000"/>
              </a:ln>
            </p:spPr>
            <p:txBody>
              <a:bodyPr lIns="0" rIns="0" anchor="ctr"/>
              <a:lstStyle>
                <a:lvl1pPr>
                  <a:lnSpc>
                    <a:spcPct val="120000"/>
                  </a:lnSpc>
                  <a:spcBef>
                    <a:spcPts val="1000"/>
                  </a:spcBef>
                  <a:buSzPct val="125000"/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1pPr>
                <a:lvl2pPr marL="742950" indent="-28575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2pPr>
                <a:lvl3pPr marL="11430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3pPr>
                <a:lvl4pPr marL="16002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4pPr>
                <a:lvl5pPr marL="20574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5pPr>
                <a:lvl6pPr marL="25146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6pPr>
                <a:lvl7pPr marL="29718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7pPr>
                <a:lvl8pPr marL="34290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8pPr>
                <a:lvl9pPr marL="38862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SzTx/>
                  <a:buFontTx/>
                  <a:buNone/>
                </a:pPr>
                <a:r>
                  <a:rPr lang="en-US" altLang="en-US" sz="1600" b="1">
                    <a:solidFill>
                      <a:srgbClr val="7030A0"/>
                    </a:solidFill>
                    <a:latin typeface="Century Gothic" panose="020B0502020202020204" pitchFamily="34" charset="0"/>
                  </a:rPr>
                  <a:t>Kegiatan Pengolahan</a:t>
                </a:r>
                <a:endParaRPr lang="en-US" altLang="en-US" sz="1600" b="1">
                  <a:solidFill>
                    <a:srgbClr val="7030A0"/>
                  </a:solidFill>
                  <a:latin typeface="Century Gothic" panose="020B0502020202020204" pitchFamily="34" charset="0"/>
                </a:endParaRP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SzTx/>
                  <a:buFontTx/>
                  <a:buNone/>
                </a:pPr>
                <a:r>
                  <a:rPr lang="en-US" altLang="en-US" sz="1600" b="1">
                    <a:solidFill>
                      <a:srgbClr val="7030A0"/>
                    </a:solidFill>
                    <a:latin typeface="Century Gothic" panose="020B0502020202020204" pitchFamily="34" charset="0"/>
                  </a:rPr>
                  <a:t>Primer</a:t>
                </a:r>
                <a:endParaRPr lang="en-US" altLang="en-US" sz="1600" b="1">
                  <a:solidFill>
                    <a:srgbClr val="7030A0"/>
                  </a:solidFill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20502" name="AutoShape 10"/>
            <p:cNvSpPr>
              <a:spLocks noChangeAspect="1" noChangeArrowheads="1"/>
            </p:cNvSpPr>
            <p:nvPr/>
          </p:nvSpPr>
          <p:spPr bwMode="auto">
            <a:xfrm>
              <a:off x="2378" y="1168"/>
              <a:ext cx="1076" cy="887"/>
            </a:xfrm>
            <a:prstGeom prst="homePlate">
              <a:avLst>
                <a:gd name="adj" fmla="val 30327"/>
              </a:avLst>
            </a:prstGeom>
            <a:grpFill/>
            <a:ln w="28575">
              <a:solidFill>
                <a:schemeClr val="tx1"/>
              </a:solidFill>
              <a:miter lim="800000"/>
            </a:ln>
          </p:spPr>
          <p:txBody>
            <a:bodyPr rIns="137160" anchor="ctr"/>
            <a:lstStyle>
              <a:lvl1pPr>
                <a:lnSpc>
                  <a:spcPct val="120000"/>
                </a:lnSpc>
                <a:spcBef>
                  <a:spcPts val="1000"/>
                </a:spcBef>
                <a:buSzPct val="125000"/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Tw Cen MT" panose="020B0602020104020603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ts val="500"/>
                </a:spcBef>
                <a:buSzPct val="125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Tw Cen MT" panose="020B0602020104020603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ts val="500"/>
                </a:spcBef>
                <a:buSzPct val="125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Tw Cen MT" panose="020B0602020104020603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ts val="500"/>
                </a:spcBef>
                <a:buSzPct val="125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Tw Cen MT" panose="020B0602020104020603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ts val="500"/>
                </a:spcBef>
                <a:buSzPct val="125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Tw Cen MT" panose="020B0602020104020603" pitchFamily="34" charset="0"/>
                </a:defRPr>
              </a:lvl5pPr>
              <a:lvl6pPr marL="2514600" indent="-228600" defTabSz="4572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125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Tw Cen MT" panose="020B0602020104020603" pitchFamily="34" charset="0"/>
                </a:defRPr>
              </a:lvl6pPr>
              <a:lvl7pPr marL="2971800" indent="-228600" defTabSz="4572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125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Tw Cen MT" panose="020B0602020104020603" pitchFamily="34" charset="0"/>
                </a:defRPr>
              </a:lvl7pPr>
              <a:lvl8pPr marL="3429000" indent="-228600" defTabSz="4572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125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Tw Cen MT" panose="020B0602020104020603" pitchFamily="34" charset="0"/>
                </a:defRPr>
              </a:lvl8pPr>
              <a:lvl9pPr marL="3886200" indent="-228600" defTabSz="4572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125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Tw Cen MT" panose="020B0602020104020603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SzTx/>
                <a:buFontTx/>
                <a:buNone/>
              </a:pPr>
              <a:endParaRPr lang="id-ID" altLang="en-US" sz="1600" b="1">
                <a:solidFill>
                  <a:srgbClr val="7030A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0503" name="AutoShape 11"/>
            <p:cNvSpPr>
              <a:spLocks noChangeArrowheads="1"/>
            </p:cNvSpPr>
            <p:nvPr/>
          </p:nvSpPr>
          <p:spPr bwMode="auto">
            <a:xfrm>
              <a:off x="2426" y="1208"/>
              <a:ext cx="980" cy="808"/>
            </a:xfrm>
            <a:prstGeom prst="homePlate">
              <a:avLst>
                <a:gd name="adj" fmla="val 30322"/>
              </a:avLst>
            </a:prstGeom>
            <a:solidFill>
              <a:schemeClr val="accent2">
                <a:lumMod val="50000"/>
              </a:schemeClr>
            </a:solidFill>
            <a:ln w="9525">
              <a:solidFill>
                <a:srgbClr val="000000"/>
              </a:solidFill>
              <a:miter lim="800000"/>
            </a:ln>
          </p:spPr>
          <p:txBody>
            <a:bodyPr rIns="0" anchor="ctr"/>
            <a:lstStyle>
              <a:lvl1pPr>
                <a:lnSpc>
                  <a:spcPct val="120000"/>
                </a:lnSpc>
                <a:spcBef>
                  <a:spcPts val="1000"/>
                </a:spcBef>
                <a:buSzPct val="125000"/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Tw Cen MT" panose="020B0602020104020603" pitchFamily="34" charset="0"/>
                </a:defRPr>
              </a:lvl1pPr>
              <a:lvl2pPr marL="742950" indent="-285750">
                <a:lnSpc>
                  <a:spcPct val="120000"/>
                </a:lnSpc>
                <a:spcBef>
                  <a:spcPts val="500"/>
                </a:spcBef>
                <a:buSzPct val="125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Tw Cen MT" panose="020B0602020104020603" pitchFamily="34" charset="0"/>
                </a:defRPr>
              </a:lvl2pPr>
              <a:lvl3pPr marL="1143000" indent="-228600">
                <a:lnSpc>
                  <a:spcPct val="120000"/>
                </a:lnSpc>
                <a:spcBef>
                  <a:spcPts val="500"/>
                </a:spcBef>
                <a:buSzPct val="125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Tw Cen MT" panose="020B0602020104020603" pitchFamily="34" charset="0"/>
                </a:defRPr>
              </a:lvl3pPr>
              <a:lvl4pPr marL="1600200" indent="-228600">
                <a:lnSpc>
                  <a:spcPct val="120000"/>
                </a:lnSpc>
                <a:spcBef>
                  <a:spcPts val="500"/>
                </a:spcBef>
                <a:buSzPct val="125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Tw Cen MT" panose="020B0602020104020603" pitchFamily="34" charset="0"/>
                </a:defRPr>
              </a:lvl4pPr>
              <a:lvl5pPr marL="2057400" indent="-228600">
                <a:lnSpc>
                  <a:spcPct val="120000"/>
                </a:lnSpc>
                <a:spcBef>
                  <a:spcPts val="500"/>
                </a:spcBef>
                <a:buSzPct val="125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Tw Cen MT" panose="020B0602020104020603" pitchFamily="34" charset="0"/>
                </a:defRPr>
              </a:lvl5pPr>
              <a:lvl6pPr marL="2514600" indent="-228600" defTabSz="4572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125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Tw Cen MT" panose="020B0602020104020603" pitchFamily="34" charset="0"/>
                </a:defRPr>
              </a:lvl6pPr>
              <a:lvl7pPr marL="2971800" indent="-228600" defTabSz="4572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125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Tw Cen MT" panose="020B0602020104020603" pitchFamily="34" charset="0"/>
                </a:defRPr>
              </a:lvl7pPr>
              <a:lvl8pPr marL="3429000" indent="-228600" defTabSz="4572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125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Tw Cen MT" panose="020B0602020104020603" pitchFamily="34" charset="0"/>
                </a:defRPr>
              </a:lvl8pPr>
              <a:lvl9pPr marL="3886200" indent="-228600" defTabSz="457200" eaLnBrk="0" fontAlgn="base" hangingPunct="0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SzPct val="125000"/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Tw Cen MT" panose="020B0602020104020603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SzTx/>
                <a:buFontTx/>
                <a:buNone/>
              </a:pPr>
              <a:r>
                <a:rPr lang="en-US" alt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Kegiatan</a:t>
              </a:r>
              <a:endParaRPr lang="en-US" altLang="en-US" sz="1600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SzTx/>
                <a:buFontTx/>
                <a:buNone/>
              </a:pPr>
              <a:r>
                <a:rPr lang="en-US" alt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Manufaktur</a:t>
              </a:r>
              <a:endParaRPr lang="en-US" altLang="en-US" sz="1600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grpSp>
          <p:nvGrpSpPr>
            <p:cNvPr id="20504" name="Group 12"/>
            <p:cNvGrpSpPr/>
            <p:nvPr/>
          </p:nvGrpSpPr>
          <p:grpSpPr bwMode="auto">
            <a:xfrm>
              <a:off x="3463" y="1168"/>
              <a:ext cx="1076" cy="887"/>
              <a:chOff x="400" y="1216"/>
              <a:chExt cx="896" cy="887"/>
            </a:xfrm>
            <a:grpFill/>
          </p:grpSpPr>
          <p:sp>
            <p:nvSpPr>
              <p:cNvPr id="20508" name="AutoShape 13"/>
              <p:cNvSpPr>
                <a:spLocks noChangeAspect="1" noChangeArrowheads="1"/>
              </p:cNvSpPr>
              <p:nvPr/>
            </p:nvSpPr>
            <p:spPr bwMode="auto">
              <a:xfrm>
                <a:off x="400" y="1216"/>
                <a:ext cx="896" cy="887"/>
              </a:xfrm>
              <a:prstGeom prst="homePlate">
                <a:avLst>
                  <a:gd name="adj" fmla="val 25254"/>
                </a:avLst>
              </a:prstGeom>
              <a:grpFill/>
              <a:ln w="28575">
                <a:solidFill>
                  <a:schemeClr val="tx1"/>
                </a:solidFill>
                <a:miter lim="800000"/>
              </a:ln>
            </p:spPr>
            <p:txBody>
              <a:bodyPr anchor="ctr"/>
              <a:lstStyle>
                <a:lvl1pPr>
                  <a:lnSpc>
                    <a:spcPct val="120000"/>
                  </a:lnSpc>
                  <a:spcBef>
                    <a:spcPts val="1000"/>
                  </a:spcBef>
                  <a:buSzPct val="125000"/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1pPr>
                <a:lvl2pPr marL="742950" indent="-28575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2pPr>
                <a:lvl3pPr marL="11430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3pPr>
                <a:lvl4pPr marL="16002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4pPr>
                <a:lvl5pPr marL="20574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5pPr>
                <a:lvl6pPr marL="25146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6pPr>
                <a:lvl7pPr marL="29718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7pPr>
                <a:lvl8pPr marL="34290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8pPr>
                <a:lvl9pPr marL="38862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SzTx/>
                  <a:buFontTx/>
                  <a:buNone/>
                </a:pPr>
                <a:endParaRPr lang="id-ID" altLang="en-US" sz="1600" b="1">
                  <a:solidFill>
                    <a:srgbClr val="7030A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0509" name="AutoShape 14"/>
              <p:cNvSpPr>
                <a:spLocks noChangeArrowheads="1"/>
              </p:cNvSpPr>
              <p:nvPr/>
            </p:nvSpPr>
            <p:spPr bwMode="auto">
              <a:xfrm>
                <a:off x="440" y="1256"/>
                <a:ext cx="816" cy="808"/>
              </a:xfrm>
              <a:prstGeom prst="homePlate">
                <a:avLst>
                  <a:gd name="adj" fmla="val 25248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rgbClr val="000000"/>
                </a:solidFill>
                <a:miter lim="800000"/>
              </a:ln>
            </p:spPr>
            <p:txBody>
              <a:bodyPr anchor="ctr"/>
              <a:lstStyle>
                <a:lvl1pPr>
                  <a:lnSpc>
                    <a:spcPct val="120000"/>
                  </a:lnSpc>
                  <a:spcBef>
                    <a:spcPts val="1000"/>
                  </a:spcBef>
                  <a:buSzPct val="125000"/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1pPr>
                <a:lvl2pPr marL="742950" indent="-28575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2pPr>
                <a:lvl3pPr marL="11430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3pPr>
                <a:lvl4pPr marL="16002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4pPr>
                <a:lvl5pPr marL="20574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5pPr>
                <a:lvl6pPr marL="25146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6pPr>
                <a:lvl7pPr marL="29718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7pPr>
                <a:lvl8pPr marL="34290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8pPr>
                <a:lvl9pPr marL="38862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SzTx/>
                  <a:buFontTx/>
                  <a:buNone/>
                </a:pPr>
                <a:r>
                  <a:rPr lang="en-US" altLang="en-US" sz="1600" b="1">
                    <a:solidFill>
                      <a:srgbClr val="7030A0"/>
                    </a:solidFill>
                    <a:latin typeface="Century Gothic" panose="020B0502020202020204" pitchFamily="34" charset="0"/>
                  </a:rPr>
                  <a:t>Kegiatan Distribusi &amp; jasa</a:t>
                </a:r>
                <a:endParaRPr lang="en-US" altLang="en-US" sz="1600" b="1">
                  <a:solidFill>
                    <a:srgbClr val="7030A0"/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20505" name="Group 15"/>
            <p:cNvGrpSpPr/>
            <p:nvPr/>
          </p:nvGrpSpPr>
          <p:grpSpPr bwMode="auto">
            <a:xfrm>
              <a:off x="4548" y="1160"/>
              <a:ext cx="1076" cy="887"/>
              <a:chOff x="400" y="1216"/>
              <a:chExt cx="896" cy="887"/>
            </a:xfrm>
            <a:grpFill/>
          </p:grpSpPr>
          <p:sp>
            <p:nvSpPr>
              <p:cNvPr id="20506" name="AutoShape 16"/>
              <p:cNvSpPr>
                <a:spLocks noChangeAspect="1" noChangeArrowheads="1"/>
              </p:cNvSpPr>
              <p:nvPr/>
            </p:nvSpPr>
            <p:spPr bwMode="auto">
              <a:xfrm>
                <a:off x="400" y="1216"/>
                <a:ext cx="896" cy="887"/>
              </a:xfrm>
              <a:prstGeom prst="homePlate">
                <a:avLst>
                  <a:gd name="adj" fmla="val 25254"/>
                </a:avLst>
              </a:prstGeom>
              <a:grpFill/>
              <a:ln w="28575">
                <a:solidFill>
                  <a:schemeClr val="tx1"/>
                </a:solidFill>
                <a:miter lim="800000"/>
              </a:ln>
            </p:spPr>
            <p:txBody>
              <a:bodyPr anchor="ctr"/>
              <a:lstStyle>
                <a:lvl1pPr>
                  <a:lnSpc>
                    <a:spcPct val="120000"/>
                  </a:lnSpc>
                  <a:spcBef>
                    <a:spcPts val="1000"/>
                  </a:spcBef>
                  <a:buSzPct val="125000"/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1pPr>
                <a:lvl2pPr marL="742950" indent="-28575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2pPr>
                <a:lvl3pPr marL="11430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3pPr>
                <a:lvl4pPr marL="16002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4pPr>
                <a:lvl5pPr marL="20574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5pPr>
                <a:lvl6pPr marL="25146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6pPr>
                <a:lvl7pPr marL="29718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7pPr>
                <a:lvl8pPr marL="34290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8pPr>
                <a:lvl9pPr marL="38862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SzTx/>
                  <a:buFontTx/>
                  <a:buNone/>
                </a:pPr>
                <a:endParaRPr lang="id-ID" altLang="en-US" sz="1600" b="1">
                  <a:solidFill>
                    <a:srgbClr val="7030A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0507" name="AutoShape 17"/>
              <p:cNvSpPr>
                <a:spLocks noChangeArrowheads="1"/>
              </p:cNvSpPr>
              <p:nvPr/>
            </p:nvSpPr>
            <p:spPr bwMode="auto">
              <a:xfrm>
                <a:off x="440" y="1256"/>
                <a:ext cx="816" cy="808"/>
              </a:xfrm>
              <a:prstGeom prst="homePlate">
                <a:avLst>
                  <a:gd name="adj" fmla="val 25248"/>
                </a:avLst>
              </a:prstGeom>
              <a:solidFill>
                <a:srgbClr val="FFFF00"/>
              </a:solidFill>
              <a:ln w="9525">
                <a:solidFill>
                  <a:srgbClr val="000000"/>
                </a:solidFill>
                <a:miter lim="800000"/>
              </a:ln>
            </p:spPr>
            <p:txBody>
              <a:bodyPr anchor="ctr"/>
              <a:lstStyle>
                <a:lvl1pPr>
                  <a:lnSpc>
                    <a:spcPct val="120000"/>
                  </a:lnSpc>
                  <a:spcBef>
                    <a:spcPts val="1000"/>
                  </a:spcBef>
                  <a:buSzPct val="125000"/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1pPr>
                <a:lvl2pPr marL="742950" indent="-28575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2pPr>
                <a:lvl3pPr marL="11430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3pPr>
                <a:lvl4pPr marL="16002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4pPr>
                <a:lvl5pPr marL="2057400" indent="-228600">
                  <a:lnSpc>
                    <a:spcPct val="120000"/>
                  </a:lnSpc>
                  <a:spcBef>
                    <a:spcPts val="500"/>
                  </a:spcBef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5pPr>
                <a:lvl6pPr marL="25146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6pPr>
                <a:lvl7pPr marL="29718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7pPr>
                <a:lvl8pPr marL="34290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8pPr>
                <a:lvl9pPr marL="3886200" indent="-228600" defTabSz="457200" eaLnBrk="0" fontAlgn="base" hangingPunct="0">
                  <a:lnSpc>
                    <a:spcPct val="120000"/>
                  </a:lnSpc>
                  <a:spcBef>
                    <a:spcPts val="500"/>
                  </a:spcBef>
                  <a:spcAft>
                    <a:spcPct val="0"/>
                  </a:spcAft>
                  <a:buSzPct val="125000"/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Tw Cen MT" panose="020B0602020104020603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SzTx/>
                  <a:buFontTx/>
                  <a:buNone/>
                </a:pPr>
                <a:r>
                  <a:rPr lang="en-US" altLang="en-US" sz="1500" b="1">
                    <a:solidFill>
                      <a:srgbClr val="7030A0"/>
                    </a:solidFill>
                    <a:latin typeface="Century Gothic" panose="020B0502020202020204" pitchFamily="34" charset="0"/>
                  </a:rPr>
                  <a:t>Pemasaran</a:t>
                </a:r>
                <a:endParaRPr lang="en-US" altLang="en-US" sz="1500" b="1">
                  <a:solidFill>
                    <a:srgbClr val="7030A0"/>
                  </a:solidFill>
                  <a:latin typeface="Century Gothic" panose="020B0502020202020204" pitchFamily="34" charset="0"/>
                </a:endParaRPr>
              </a:p>
            </p:txBody>
          </p:sp>
        </p:grpSp>
      </p:grpSp>
      <p:sp>
        <p:nvSpPr>
          <p:cNvPr id="20484" name="Text Box 18"/>
          <p:cNvSpPr txBox="1">
            <a:spLocks noChangeArrowheads="1"/>
          </p:cNvSpPr>
          <p:nvPr/>
        </p:nvSpPr>
        <p:spPr bwMode="auto">
          <a:xfrm flipH="1">
            <a:off x="261937" y="5065714"/>
            <a:ext cx="2558714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28600" indent="-228600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b="1">
                <a:latin typeface="Century Gothic" panose="020B0502020202020204" pitchFamily="34" charset="0"/>
              </a:rPr>
              <a:t>Pemasok produk</a:t>
            </a:r>
            <a:endParaRPr lang="en-US" altLang="en-US" sz="1800" b="1">
              <a:latin typeface="Century Gothic" panose="020B0502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Char char="•"/>
            </a:pPr>
            <a:r>
              <a:rPr lang="en-US" altLang="en-US" sz="1800" b="1">
                <a:latin typeface="Century Gothic" panose="020B0502020202020204" pitchFamily="34" charset="0"/>
              </a:rPr>
              <a:t>Produsen pemasok</a:t>
            </a:r>
            <a:endParaRPr lang="en-US" altLang="en-US" sz="1800" b="1">
              <a:latin typeface="Century Gothic" panose="020B0502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Char char="•"/>
            </a:pPr>
            <a:r>
              <a:rPr lang="en-US" altLang="en-US" sz="1800" b="1">
                <a:latin typeface="Century Gothic" panose="020B0502020202020204" pitchFamily="34" charset="0"/>
              </a:rPr>
              <a:t>Importir</a:t>
            </a:r>
            <a:endParaRPr lang="en-US" altLang="en-US" sz="1800" b="1">
              <a:latin typeface="Century Gothic" panose="020B0502020202020204" pitchFamily="34" charset="0"/>
            </a:endParaRPr>
          </a:p>
        </p:txBody>
      </p:sp>
      <p:pic>
        <p:nvPicPr>
          <p:cNvPr id="20485" name="Picture 19" descr="j0216724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375653" y="3748094"/>
            <a:ext cx="1428751" cy="145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6" name="Picture 20" descr="j0234687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63617" y="4121156"/>
            <a:ext cx="1970087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7" name="Text Box 21"/>
          <p:cNvSpPr txBox="1">
            <a:spLocks noChangeArrowheads="1"/>
          </p:cNvSpPr>
          <p:nvPr/>
        </p:nvSpPr>
        <p:spPr bwMode="auto">
          <a:xfrm flipH="1">
            <a:off x="7716839" y="5180014"/>
            <a:ext cx="267733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28600" indent="-228600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b="1" dirty="0" err="1">
                <a:latin typeface="Century Gothic" panose="020B0502020202020204" pitchFamily="34" charset="0"/>
              </a:rPr>
              <a:t>Pengguna</a:t>
            </a:r>
            <a:r>
              <a:rPr lang="en-US" altLang="en-US" sz="1800" b="1" dirty="0">
                <a:latin typeface="Century Gothic" panose="020B0502020202020204" pitchFamily="34" charset="0"/>
              </a:rPr>
              <a:t> </a:t>
            </a:r>
            <a:r>
              <a:rPr lang="en-US" altLang="en-US" sz="1800" b="1" dirty="0" err="1">
                <a:latin typeface="Century Gothic" panose="020B0502020202020204" pitchFamily="34" charset="0"/>
              </a:rPr>
              <a:t>Produk</a:t>
            </a:r>
            <a:endParaRPr lang="en-US" altLang="en-US" sz="1800" b="1" dirty="0">
              <a:latin typeface="Century Gothic" panose="020B0502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Char char="•"/>
            </a:pPr>
            <a:r>
              <a:rPr lang="en-US" altLang="en-US" sz="1800" b="1" dirty="0" err="1">
                <a:latin typeface="Century Gothic" panose="020B0502020202020204" pitchFamily="34" charset="0"/>
              </a:rPr>
              <a:t>Produsen</a:t>
            </a:r>
            <a:r>
              <a:rPr lang="en-US" altLang="en-US" sz="1800" b="1" dirty="0">
                <a:latin typeface="Century Gothic" panose="020B0502020202020204" pitchFamily="34" charset="0"/>
              </a:rPr>
              <a:t> </a:t>
            </a:r>
            <a:r>
              <a:rPr lang="en-US" altLang="en-US" sz="1800" b="1" dirty="0" err="1">
                <a:latin typeface="Century Gothic" panose="020B0502020202020204" pitchFamily="34" charset="0"/>
              </a:rPr>
              <a:t>pengguna</a:t>
            </a:r>
            <a:endParaRPr lang="en-US" altLang="en-US" sz="1800" b="1" dirty="0">
              <a:latin typeface="Century Gothic" panose="020B0502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Char char="•"/>
            </a:pPr>
            <a:r>
              <a:rPr lang="en-US" altLang="en-US" sz="1800" b="1" dirty="0" err="1">
                <a:latin typeface="Century Gothic" panose="020B0502020202020204" pitchFamily="34" charset="0"/>
              </a:rPr>
              <a:t>Konsumen</a:t>
            </a:r>
            <a:endParaRPr lang="en-US" altLang="en-US" sz="1800" b="1" dirty="0">
              <a:latin typeface="Century Gothic" panose="020B0502020202020204" pitchFamily="34" charset="0"/>
            </a:endParaRPr>
          </a:p>
        </p:txBody>
      </p:sp>
      <p:sp>
        <p:nvSpPr>
          <p:cNvPr id="20488" name="AutoShape 22"/>
          <p:cNvSpPr>
            <a:spLocks noChangeArrowheads="1"/>
          </p:cNvSpPr>
          <p:nvPr/>
        </p:nvSpPr>
        <p:spPr bwMode="auto">
          <a:xfrm>
            <a:off x="2627317" y="3157538"/>
            <a:ext cx="2765425" cy="931862"/>
          </a:xfrm>
          <a:prstGeom prst="cloudCallout">
            <a:avLst>
              <a:gd name="adj1" fmla="val -45407"/>
              <a:gd name="adj2" fmla="val 72148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</a:ln>
        </p:spPr>
        <p:txBody>
          <a:bodyPr/>
          <a:lstStyle>
            <a:lvl1pPr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b="1">
                <a:solidFill>
                  <a:srgbClr val="002060"/>
                </a:solidFill>
                <a:latin typeface="Century Gothic" panose="020B0502020202020204" pitchFamily="34" charset="0"/>
              </a:rPr>
              <a:t>Persyaratan Pasar?</a:t>
            </a:r>
            <a:endParaRPr lang="en-US" altLang="en-US" sz="1800" b="1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20489" name="AutoShape 23"/>
          <p:cNvSpPr>
            <a:spLocks noChangeArrowheads="1"/>
          </p:cNvSpPr>
          <p:nvPr/>
        </p:nvSpPr>
        <p:spPr bwMode="auto">
          <a:xfrm flipH="1">
            <a:off x="5970591" y="3060700"/>
            <a:ext cx="2578100" cy="1206500"/>
          </a:xfrm>
          <a:prstGeom prst="cloudCallout">
            <a:avLst>
              <a:gd name="adj1" fmla="val -49852"/>
              <a:gd name="adj2" fmla="val 26838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</a:ln>
        </p:spPr>
        <p:txBody>
          <a:bodyPr/>
          <a:lstStyle>
            <a:lvl1pPr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b="1">
                <a:solidFill>
                  <a:srgbClr val="002060"/>
                </a:solidFill>
                <a:latin typeface="Century Gothic" panose="020B0502020202020204" pitchFamily="34" charset="0"/>
              </a:rPr>
              <a:t>Aman?</a:t>
            </a:r>
            <a:endParaRPr lang="en-US" altLang="en-US" sz="1800" b="1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b="1">
                <a:solidFill>
                  <a:srgbClr val="002060"/>
                </a:solidFill>
                <a:latin typeface="Century Gothic" panose="020B0502020202020204" pitchFamily="34" charset="0"/>
              </a:rPr>
              <a:t>Sehat?</a:t>
            </a:r>
            <a:endParaRPr lang="en-US" altLang="en-US" sz="1800" b="1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b="1">
                <a:solidFill>
                  <a:srgbClr val="002060"/>
                </a:solidFill>
                <a:latin typeface="Century Gothic" panose="020B0502020202020204" pitchFamily="34" charset="0"/>
              </a:rPr>
              <a:t>Mutu?</a:t>
            </a:r>
            <a:endParaRPr lang="en-US" altLang="en-US" sz="1800" b="1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20490" name="Line 24"/>
          <p:cNvSpPr>
            <a:spLocks noChangeShapeType="1"/>
          </p:cNvSpPr>
          <p:nvPr/>
        </p:nvSpPr>
        <p:spPr bwMode="auto">
          <a:xfrm flipH="1">
            <a:off x="3033713" y="4686300"/>
            <a:ext cx="110807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d-ID"/>
          </a:p>
        </p:txBody>
      </p:sp>
      <p:sp>
        <p:nvSpPr>
          <p:cNvPr id="20491" name="Line 25"/>
          <p:cNvSpPr>
            <a:spLocks noChangeShapeType="1"/>
          </p:cNvSpPr>
          <p:nvPr/>
        </p:nvSpPr>
        <p:spPr bwMode="auto">
          <a:xfrm>
            <a:off x="7112003" y="4686300"/>
            <a:ext cx="1250951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d-ID"/>
          </a:p>
        </p:txBody>
      </p:sp>
      <p:pic>
        <p:nvPicPr>
          <p:cNvPr id="20492" name="Picture 26" descr="arrowl4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 flipH="1">
            <a:off x="4754567" y="5946781"/>
            <a:ext cx="503237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3" name="Text Box 27"/>
          <p:cNvSpPr txBox="1">
            <a:spLocks noChangeArrowheads="1"/>
          </p:cNvSpPr>
          <p:nvPr/>
        </p:nvSpPr>
        <p:spPr bwMode="auto">
          <a:xfrm>
            <a:off x="4887672" y="6273806"/>
            <a:ext cx="133081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b="1">
                <a:solidFill>
                  <a:srgbClr val="C00000"/>
                </a:solidFill>
                <a:latin typeface="Century Gothic" panose="020B0502020202020204" pitchFamily="34" charset="0"/>
              </a:rPr>
              <a:t>Standar</a:t>
            </a:r>
            <a:endParaRPr lang="en-US" altLang="en-US" b="1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0494" name="Picture 28" descr="arrowl4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 flipH="1">
            <a:off x="5911060" y="5945984"/>
            <a:ext cx="503237" cy="349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5" name="Picture 29" descr="arrowl4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 flipH="1">
            <a:off x="4737898" y="5006184"/>
            <a:ext cx="503237" cy="349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6" name="Picture 30" descr="arrowl4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 flipH="1">
            <a:off x="5895186" y="5007772"/>
            <a:ext cx="503237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7" name="Text Box 31"/>
          <p:cNvSpPr txBox="1">
            <a:spLocks noChangeArrowheads="1"/>
          </p:cNvSpPr>
          <p:nvPr/>
        </p:nvSpPr>
        <p:spPr bwMode="auto">
          <a:xfrm>
            <a:off x="3842163" y="5332418"/>
            <a:ext cx="152317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b="1">
                <a:solidFill>
                  <a:srgbClr val="C00000"/>
                </a:solidFill>
                <a:latin typeface="Century Gothic" panose="020B0502020202020204" pitchFamily="34" charset="0"/>
              </a:rPr>
              <a:t>Kesehatan</a:t>
            </a:r>
            <a:endParaRPr lang="en-US" altLang="en-US" sz="1800" b="1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b="1">
                <a:solidFill>
                  <a:srgbClr val="C00000"/>
                </a:solidFill>
                <a:latin typeface="Century Gothic" panose="020B0502020202020204" pitchFamily="34" charset="0"/>
              </a:rPr>
              <a:t>masyarakat</a:t>
            </a:r>
            <a:endParaRPr lang="en-US" altLang="en-US" sz="1800" b="1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0498" name="Text Box 32"/>
          <p:cNvSpPr txBox="1">
            <a:spLocks noChangeArrowheads="1"/>
          </p:cNvSpPr>
          <p:nvPr/>
        </p:nvSpPr>
        <p:spPr bwMode="auto">
          <a:xfrm>
            <a:off x="5628603" y="5332418"/>
            <a:ext cx="174759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b="1">
                <a:solidFill>
                  <a:srgbClr val="C00000"/>
                </a:solidFill>
                <a:latin typeface="Century Gothic" panose="020B0502020202020204" pitchFamily="34" charset="0"/>
              </a:rPr>
              <a:t>Fasilitasi</a:t>
            </a:r>
            <a:endParaRPr lang="en-US" altLang="en-US" sz="1800" b="1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b="1">
                <a:solidFill>
                  <a:srgbClr val="C00000"/>
                </a:solidFill>
                <a:latin typeface="Century Gothic" panose="020B0502020202020204" pitchFamily="34" charset="0"/>
              </a:rPr>
              <a:t>perdagangan</a:t>
            </a:r>
            <a:endParaRPr lang="en-US" altLang="en-US" sz="1800" b="1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0499" name="Text Box 33"/>
          <p:cNvSpPr txBox="1">
            <a:spLocks noChangeArrowheads="1"/>
          </p:cNvSpPr>
          <p:nvPr/>
        </p:nvSpPr>
        <p:spPr bwMode="auto">
          <a:xfrm>
            <a:off x="4389373" y="4379918"/>
            <a:ext cx="244329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defTabSz="4572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b="1">
                <a:latin typeface="Century Gothic" panose="020B0502020202020204" pitchFamily="34" charset="0"/>
              </a:rPr>
              <a:t>Hambatan Transaksi</a:t>
            </a:r>
            <a:endParaRPr lang="en-US" altLang="en-US" sz="1800" b="1">
              <a:latin typeface="Century Gothic" panose="020B0502020202020204" pitchFamily="34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b="1">
                <a:latin typeface="Century Gothic" panose="020B0502020202020204" pitchFamily="34" charset="0"/>
              </a:rPr>
              <a:t>Risiko Bisnis</a:t>
            </a:r>
            <a:endParaRPr lang="en-US" altLang="en-US" sz="1800" b="1">
              <a:latin typeface="Century Gothic" panose="020B0502020202020204" pitchFamily="34" charset="0"/>
            </a:endParaRPr>
          </a:p>
        </p:txBody>
      </p:sp>
    </p:spTree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 flipH="1">
            <a:off x="428788" y="1694039"/>
            <a:ext cx="2151253" cy="707886"/>
          </a:xfrm>
          <a:prstGeom prst="rect">
            <a:avLst/>
          </a:prstGeom>
          <a:solidFill>
            <a:srgbClr val="92D050">
              <a:alpha val="27000"/>
            </a:srgbClr>
          </a:solidFill>
          <a:ln w="53975" cap="rnd">
            <a:solidFill>
              <a:srgbClr val="FF0000"/>
            </a:solidFill>
            <a:beve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>
                <a:latin typeface="Cambria" panose="02040503050406030204" pitchFamily="18" charset="0"/>
                <a:ea typeface="Cambria" panose="02040503050406030204" pitchFamily="18" charset="0"/>
              </a:rPr>
              <a:t>Kawasan</a:t>
            </a:r>
            <a:r>
              <a:rPr lang="en-US" sz="2000" b="1" dirty="0">
                <a:latin typeface="Cambria" panose="02040503050406030204" pitchFamily="18" charset="0"/>
                <a:ea typeface="Cambria" panose="02040503050406030204" pitchFamily="18" charset="0"/>
              </a:rPr>
              <a:t> (OROV)</a:t>
            </a:r>
            <a:endParaRPr lang="en-US" sz="2000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" name="Up Arrow Callout 10"/>
          <p:cNvSpPr/>
          <p:nvPr/>
        </p:nvSpPr>
        <p:spPr>
          <a:xfrm>
            <a:off x="317967" y="3048006"/>
            <a:ext cx="2112580" cy="2640849"/>
          </a:xfrm>
          <a:prstGeom prst="upArrowCallout">
            <a:avLst>
              <a:gd name="adj1" fmla="val 11628"/>
              <a:gd name="adj2" fmla="val 25000"/>
              <a:gd name="adj3" fmla="val 25000"/>
              <a:gd name="adj4" fmla="val 75000"/>
            </a:avLst>
          </a:prstGeom>
          <a:solidFill>
            <a:schemeClr val="accent3">
              <a:lumMod val="50000"/>
              <a:alpha val="86000"/>
            </a:schemeClr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600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- Usulan kelompok tani untuk di registrasi</a:t>
            </a:r>
            <a:endParaRPr lang="id-ID" sz="1600" b="1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id-ID" sz="1600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- Usulan champion</a:t>
            </a:r>
            <a:endParaRPr lang="en-US" sz="1600" b="1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6" name="Up Arrow Callout 25"/>
          <p:cNvSpPr/>
          <p:nvPr/>
        </p:nvSpPr>
        <p:spPr>
          <a:xfrm>
            <a:off x="6416040" y="2468880"/>
            <a:ext cx="2788920" cy="3169920"/>
          </a:xfrm>
          <a:prstGeom prst="upArrowCallout">
            <a:avLst>
              <a:gd name="adj1" fmla="val 11628"/>
              <a:gd name="adj2" fmla="val 25000"/>
              <a:gd name="adj3" fmla="val 25000"/>
              <a:gd name="adj4" fmla="val 75000"/>
            </a:avLst>
          </a:prstGeom>
          <a:solidFill>
            <a:schemeClr val="accent3">
              <a:lumMod val="50000"/>
              <a:alpha val="86000"/>
            </a:schemeClr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 indent="-182880">
              <a:buFont typeface="Wingdings" panose="05000000000000000000" pitchFamily="2" charset="2"/>
              <a:buChar char="§"/>
            </a:pPr>
            <a:r>
              <a:rPr lang="id-ID" sz="1600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EGISTRASI KEBUN/LU</a:t>
            </a:r>
            <a:endParaRPr lang="id-ID" sz="1600" b="1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182880" indent="-18288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RTIFIKASI </a:t>
            </a:r>
            <a:endParaRPr lang="en-US" sz="1600" b="1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441325" lvl="1" indent="-259080">
              <a:buFont typeface="Wingdings" panose="05000000000000000000" pitchFamily="2" charset="2"/>
              <a:buChar char="à"/>
            </a:pPr>
            <a:r>
              <a:rPr lang="en-US" sz="1600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sym typeface="Wingdings" panose="05000000000000000000" pitchFamily="2" charset="2"/>
              </a:rPr>
              <a:t>GLOBAL GAP</a:t>
            </a:r>
            <a:endParaRPr lang="en-US" sz="1600" b="1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  <a:sym typeface="Wingdings" panose="05000000000000000000" pitchFamily="2" charset="2"/>
            </a:endParaRPr>
          </a:p>
          <a:p>
            <a:pPr marL="441325" lvl="1" indent="-259080">
              <a:buFont typeface="Wingdings" panose="05000000000000000000" pitchFamily="2" charset="2"/>
              <a:buChar char="à"/>
            </a:pPr>
            <a:r>
              <a:rPr lang="en-US" sz="1600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sym typeface="Wingdings" panose="05000000000000000000" pitchFamily="2" charset="2"/>
              </a:rPr>
              <a:t>ORGANIK</a:t>
            </a:r>
            <a:endParaRPr lang="en-US" sz="1600" b="1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  <a:sym typeface="Wingdings" panose="05000000000000000000" pitchFamily="2" charset="2"/>
            </a:endParaRPr>
          </a:p>
          <a:p>
            <a:pPr marL="441325" lvl="1" indent="-259080">
              <a:buFont typeface="Wingdings" panose="05000000000000000000" pitchFamily="2" charset="2"/>
              <a:buChar char="à"/>
            </a:pPr>
            <a:r>
              <a:rPr lang="en-US" sz="1600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sym typeface="Wingdings" panose="05000000000000000000" pitchFamily="2" charset="2"/>
              </a:rPr>
              <a:t>PRIMA</a:t>
            </a:r>
            <a:endParaRPr lang="id-ID" sz="1600" b="1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  <a:sym typeface="Wingdings" panose="05000000000000000000" pitchFamily="2" charset="2"/>
            </a:endParaRPr>
          </a:p>
          <a:p>
            <a:pPr marL="182880" indent="-182880">
              <a:buFont typeface="Wingdings" panose="05000000000000000000" pitchFamily="2" charset="2"/>
              <a:buChar char="§"/>
            </a:pPr>
            <a:r>
              <a:rPr lang="id-ID" sz="1600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sym typeface="Wingdings" panose="05000000000000000000" pitchFamily="2" charset="2"/>
              </a:rPr>
              <a:t>REG BANGSAL PP</a:t>
            </a:r>
            <a:endParaRPr lang="en-US" sz="1600" b="1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7" name="Up Arrow Callout 26"/>
          <p:cNvSpPr/>
          <p:nvPr/>
        </p:nvSpPr>
        <p:spPr>
          <a:xfrm>
            <a:off x="9382183" y="2438400"/>
            <a:ext cx="2567775" cy="3185160"/>
          </a:xfrm>
          <a:prstGeom prst="upArrowCallout">
            <a:avLst>
              <a:gd name="adj1" fmla="val 11628"/>
              <a:gd name="adj2" fmla="val 25000"/>
              <a:gd name="adj3" fmla="val 25000"/>
              <a:gd name="adj4" fmla="val 75000"/>
            </a:avLst>
          </a:prstGeom>
          <a:solidFill>
            <a:srgbClr val="FFFF00">
              <a:alpha val="86000"/>
            </a:srgbClr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600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A</a:t>
            </a:r>
            <a:endParaRPr lang="id-ID" sz="160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id-ID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engaturan Impor (NTMs, RIPH)</a:t>
            </a:r>
            <a:endParaRPr lang="id-ID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en-US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</a:t>
            </a:r>
            <a:r>
              <a:rPr lang="id-ID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otocol Ekspor</a:t>
            </a:r>
            <a:endParaRPr lang="id-ID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id-ID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Kemitraan</a:t>
            </a:r>
            <a:endParaRPr lang="id-ID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id-ID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kses Pasar</a:t>
            </a:r>
            <a:endParaRPr lang="id-ID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id-ID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mosi</a:t>
            </a:r>
            <a:endParaRPr lang="id-ID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id-ID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vestasi</a:t>
            </a:r>
            <a:endParaRPr lang="id-ID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endParaRPr lang="en-US" sz="160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 flipH="1">
            <a:off x="3124200" y="1763962"/>
            <a:ext cx="2712720" cy="400110"/>
          </a:xfrm>
          <a:prstGeom prst="rect">
            <a:avLst/>
          </a:prstGeom>
          <a:solidFill>
            <a:srgbClr val="92D050">
              <a:alpha val="27000"/>
            </a:srgbClr>
          </a:solidFill>
          <a:ln w="53975" cap="rnd">
            <a:solidFill>
              <a:srgbClr val="FF0000"/>
            </a:solidFill>
            <a:bevel/>
          </a:ln>
        </p:spPr>
        <p:txBody>
          <a:bodyPr wrap="square" rtlCol="0">
            <a:spAutoFit/>
          </a:bodyPr>
          <a:lstStyle/>
          <a:p>
            <a:pPr algn="ctr"/>
            <a:r>
              <a:rPr lang="id-ID" sz="2000" b="1" dirty="0">
                <a:latin typeface="Cambria" panose="02040503050406030204" pitchFamily="18" charset="0"/>
                <a:ea typeface="Cambria" panose="02040503050406030204" pitchFamily="18" charset="0"/>
                <a:sym typeface="Wingdings" panose="05000000000000000000" pitchFamily="2" charset="2"/>
              </a:rPr>
              <a:t>Perlindungan</a:t>
            </a:r>
            <a:endParaRPr lang="en-US" sz="2000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9" name="Up Arrow Callout 28"/>
          <p:cNvSpPr/>
          <p:nvPr/>
        </p:nvSpPr>
        <p:spPr>
          <a:xfrm>
            <a:off x="2875597" y="3027382"/>
            <a:ext cx="3083247" cy="2626658"/>
          </a:xfrm>
          <a:prstGeom prst="upArrowCallout">
            <a:avLst>
              <a:gd name="adj1" fmla="val 11628"/>
              <a:gd name="adj2" fmla="val 25000"/>
              <a:gd name="adj3" fmla="val 25000"/>
              <a:gd name="adj4" fmla="val 75000"/>
            </a:avLst>
          </a:prstGeom>
          <a:solidFill>
            <a:srgbClr val="FFFF00">
              <a:alpha val="86000"/>
            </a:srgbClr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 indent="-182880">
              <a:buFont typeface="Wingdings" panose="05000000000000000000" pitchFamily="2" charset="2"/>
              <a:buChar char="§"/>
            </a:pPr>
            <a:r>
              <a:rPr lang="id-ID" sz="1600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enerapan PHT (PPHT) termasuk pendampingan teknis persyaratan ekspor</a:t>
            </a:r>
            <a:endParaRPr lang="id-ID" sz="160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182880" indent="-182880">
              <a:buFont typeface="Wingdings" panose="05000000000000000000" pitchFamily="2" charset="2"/>
              <a:buChar char="§"/>
            </a:pPr>
            <a:r>
              <a:rPr lang="id-ID" sz="1600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Gerakan Pengendalian OPT</a:t>
            </a:r>
            <a:endParaRPr lang="id-ID" sz="160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182880" indent="-182880">
              <a:buFont typeface="Wingdings" panose="05000000000000000000" pitchFamily="2" charset="2"/>
              <a:buChar char="§"/>
            </a:pPr>
            <a:r>
              <a:rPr lang="id-ID" sz="1600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esa Organik</a:t>
            </a:r>
            <a:endParaRPr lang="id-ID" sz="160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182880" indent="-182880">
              <a:buFont typeface="Wingdings" panose="05000000000000000000" pitchFamily="2" charset="2"/>
              <a:buChar char="§"/>
            </a:pPr>
            <a:r>
              <a:rPr lang="sv-SE" sz="1600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enyiapan Pest List OPT(persyaratan SPS-WTO)</a:t>
            </a:r>
            <a:endParaRPr lang="en-US" sz="160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78613" y="216953"/>
            <a:ext cx="11493351" cy="107721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id-ID" sz="3200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TEGRASI PELAKSANAAN KEGIATAN </a:t>
            </a:r>
            <a:endParaRPr lang="id-ID" sz="320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id-ID" sz="3200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ENDUKUNG JAMINAN </a:t>
            </a:r>
            <a:r>
              <a:rPr lang="en-US" sz="3200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UTU </a:t>
            </a:r>
            <a:endParaRPr lang="en-US" sz="320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89560" y="6329422"/>
            <a:ext cx="11689080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</a:t>
            </a:r>
            <a:r>
              <a:rPr lang="id-ID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dan Karantina, BKP, BSN, Kemendag, Kemenperin, Kemenko </a:t>
            </a:r>
            <a:endParaRPr lang="en-US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 flipH="1">
            <a:off x="6431280" y="1626802"/>
            <a:ext cx="5257800" cy="523220"/>
          </a:xfrm>
          <a:prstGeom prst="rect">
            <a:avLst/>
          </a:prstGeom>
          <a:solidFill>
            <a:srgbClr val="92D050">
              <a:alpha val="27000"/>
            </a:srgbClr>
          </a:solidFill>
          <a:ln w="53975" cap="rnd">
            <a:solidFill>
              <a:srgbClr val="FF0000"/>
            </a:solidFill>
            <a:bevel/>
          </a:ln>
        </p:spPr>
        <p:txBody>
          <a:bodyPr wrap="square" rtlCol="0">
            <a:spAutoFit/>
          </a:bodyPr>
          <a:lstStyle/>
          <a:p>
            <a:pPr algn="ctr"/>
            <a:r>
              <a:rPr lang="id-ID" sz="2800" b="1" dirty="0">
                <a:latin typeface="Cambria" panose="02040503050406030204" pitchFamily="18" charset="0"/>
                <a:ea typeface="Cambria" panose="02040503050406030204" pitchFamily="18" charset="0"/>
                <a:sym typeface="Wingdings" panose="05000000000000000000" pitchFamily="2" charset="2"/>
              </a:rPr>
              <a:t>PPHH</a:t>
            </a:r>
            <a:endParaRPr lang="en-US" sz="2800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</p:cSld>
  <p:clrMapOvr>
    <a:masterClrMapping/>
  </p:clrMapOvr>
  <p:transition spd="med">
    <p:pull/>
  </p:transition>
</p:sld>
</file>

<file path=ppt/tags/tag1.xml><?xml version="1.0" encoding="utf-8"?>
<p:tagLst xmlns:p="http://schemas.openxmlformats.org/presentationml/2006/main">
  <p:tag name="THINKCELLSHAPEDONOTDELETE" val="pdaCC7DSyqEi7HYTv7kUYa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43000" r="43000" b="10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Frame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Vapor Trail">
  <a:themeElements>
    <a:clrScheme name="Vapor Trail">
      <a:dk1>
        <a:sysClr val="windowText" lastClr="000000"/>
      </a:dk1>
      <a:lt1>
        <a:sysClr val="window" lastClr="FFFFFF"/>
      </a:lt1>
      <a:dk2>
        <a:srgbClr val="454545"/>
      </a:dk2>
      <a:lt2>
        <a:srgbClr val="DADADA"/>
      </a:lt2>
      <a:accent1>
        <a:srgbClr val="E5224E"/>
      </a:accent1>
      <a:accent2>
        <a:srgbClr val="9D074E"/>
      </a:accent2>
      <a:accent3>
        <a:srgbClr val="7F2294"/>
      </a:accent3>
      <a:accent4>
        <a:srgbClr val="8D65EA"/>
      </a:accent4>
      <a:accent5>
        <a:srgbClr val="588FE2"/>
      </a:accent5>
      <a:accent6>
        <a:srgbClr val="127CA4"/>
      </a:accent6>
      <a:hlink>
        <a:srgbClr val="FB4AB6"/>
      </a:hlink>
      <a:folHlink>
        <a:srgbClr val="F98FE9"/>
      </a:folHlink>
    </a:clrScheme>
    <a:fontScheme name="Vapor Trail">
      <a:majorFont>
        <a:latin typeface="Century Gothic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Vapor Trail">
      <a:fillStyleLst>
        <a:solidFill>
          <a:schemeClr val="phClr"/>
        </a:solidFill>
        <a:gradFill rotWithShape="1">
          <a:gsLst>
            <a:gs pos="0">
              <a:schemeClr val="phClr">
                <a:tint val="69000"/>
                <a:alpha val="100000"/>
                <a:satMod val="109000"/>
                <a:lumMod val="110000"/>
              </a:schemeClr>
            </a:gs>
            <a:gs pos="52000">
              <a:schemeClr val="phClr">
                <a:tint val="74000"/>
                <a:satMod val="100000"/>
                <a:lumMod val="104000"/>
              </a:schemeClr>
            </a:gs>
            <a:gs pos="100000">
              <a:schemeClr val="phClr">
                <a:tint val="78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00000"/>
                <a:lumMod val="104000"/>
              </a:schemeClr>
            </a:gs>
            <a:gs pos="78000">
              <a:schemeClr val="phClr">
                <a:shade val="100000"/>
                <a:satMod val="11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  <a:scene3d>
            <a:camera prst="orthographicFront">
              <a:rot lat="0" lon="0" rev="0"/>
            </a:camera>
            <a:lightRig rig="threePt" dir="t"/>
          </a:scene3d>
          <a:sp3d>
            <a:bevelT w="25400" h="12700"/>
          </a:sp3d>
        </a:effectStyle>
        <a:effectStyle>
          <a:effectLst>
            <a:outerShdw blurRad="57150" dist="19050" dir="5400000" algn="ctr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>
            <a:bevelT w="508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69</Words>
  <Application>WPS Presentation</Application>
  <PresentationFormat>Widescreen</PresentationFormat>
  <Paragraphs>295</Paragraphs>
  <Slides>15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20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15</vt:i4>
      </vt:variant>
    </vt:vector>
  </HeadingPairs>
  <TitlesOfParts>
    <vt:vector size="39" baseType="lpstr">
      <vt:lpstr>Arial</vt:lpstr>
      <vt:lpstr>SimSun</vt:lpstr>
      <vt:lpstr>Wingdings</vt:lpstr>
      <vt:lpstr>Wingdings 2</vt:lpstr>
      <vt:lpstr>Tahoma</vt:lpstr>
      <vt:lpstr>Tw Cen MT</vt:lpstr>
      <vt:lpstr>Calibri</vt:lpstr>
      <vt:lpstr>Century Gothic</vt:lpstr>
      <vt:lpstr>Courier New</vt:lpstr>
      <vt:lpstr>Calibri</vt:lpstr>
      <vt:lpstr>Arial Narrow</vt:lpstr>
      <vt:lpstr>Britannic Bold</vt:lpstr>
      <vt:lpstr>Cambria</vt:lpstr>
      <vt:lpstr>Corbel</vt:lpstr>
      <vt:lpstr>Aharoni</vt:lpstr>
      <vt:lpstr>Segoe Print</vt:lpstr>
      <vt:lpstr>Times New Roman</vt:lpstr>
      <vt:lpstr>Baskerville Old Face</vt:lpstr>
      <vt:lpstr>Microsoft YaHei</vt:lpstr>
      <vt:lpstr>Arial Unicode MS</vt:lpstr>
      <vt:lpstr>Office Theme</vt:lpstr>
      <vt:lpstr>Gallery</vt:lpstr>
      <vt:lpstr>Frame</vt:lpstr>
      <vt:lpstr>Vapor Trail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Rantai Pasok Produk Pertanian</vt:lpstr>
      <vt:lpstr>PowerPoint 演示文稿</vt:lpstr>
      <vt:lpstr>PowerPoint 演示文稿</vt:lpstr>
      <vt:lpstr>PowerPoint 演示文稿</vt:lpstr>
      <vt:lpstr>PowerPoint 演示文稿</vt:lpstr>
      <vt:lpstr>ACUAN PERMENTAN PRAKTIK HORTIKULTURA YANG BAIK</vt:lpstr>
      <vt:lpstr>STRUKTUR PERMENTAN</vt:lpstr>
      <vt:lpstr>TERIMA KASIH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PHH</dc:creator>
  <cp:lastModifiedBy>sekar</cp:lastModifiedBy>
  <cp:revision>79</cp:revision>
  <cp:lastPrinted>2020-09-24T05:25:00Z</cp:lastPrinted>
  <dcterms:created xsi:type="dcterms:W3CDTF">2020-09-22T02:25:00Z</dcterms:created>
  <dcterms:modified xsi:type="dcterms:W3CDTF">2021-07-16T08:2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1.2.0.10200</vt:lpwstr>
  </property>
</Properties>
</file>